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4"/>
  </p:notesMasterIdLst>
  <p:handoutMasterIdLst>
    <p:handoutMasterId r:id="rId35"/>
  </p:handoutMasterIdLst>
  <p:sldIdLst>
    <p:sldId id="256" r:id="rId2"/>
    <p:sldId id="1690" r:id="rId3"/>
    <p:sldId id="258" r:id="rId4"/>
    <p:sldId id="302" r:id="rId5"/>
    <p:sldId id="1779" r:id="rId6"/>
    <p:sldId id="1695" r:id="rId7"/>
    <p:sldId id="1694" r:id="rId8"/>
    <p:sldId id="280" r:id="rId9"/>
    <p:sldId id="1707" r:id="rId10"/>
    <p:sldId id="1628" r:id="rId11"/>
    <p:sldId id="1657" r:id="rId12"/>
    <p:sldId id="1700" r:id="rId13"/>
    <p:sldId id="288" r:id="rId14"/>
    <p:sldId id="1705" r:id="rId15"/>
    <p:sldId id="1708" r:id="rId16"/>
    <p:sldId id="296" r:id="rId17"/>
    <p:sldId id="1706" r:id="rId18"/>
    <p:sldId id="295" r:id="rId19"/>
    <p:sldId id="1778" r:id="rId20"/>
    <p:sldId id="286" r:id="rId21"/>
    <p:sldId id="1709" r:id="rId22"/>
    <p:sldId id="279" r:id="rId23"/>
    <p:sldId id="1702" r:id="rId24"/>
    <p:sldId id="1704" r:id="rId25"/>
    <p:sldId id="287" r:id="rId26"/>
    <p:sldId id="309" r:id="rId27"/>
    <p:sldId id="1710" r:id="rId28"/>
    <p:sldId id="1777" r:id="rId29"/>
    <p:sldId id="1703" r:id="rId30"/>
    <p:sldId id="277" r:id="rId31"/>
    <p:sldId id="1776" r:id="rId32"/>
    <p:sldId id="261" r:id="rId33"/>
  </p:sldIdLst>
  <p:sldSz cx="12192000" cy="6858000"/>
  <p:notesSz cx="6858000" cy="9144000"/>
  <p:custDataLst>
    <p:tags r:id="rId3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6464"/>
    <a:srgbClr val="E24E0C"/>
    <a:srgbClr val="08F8D0"/>
    <a:srgbClr val="0055FF"/>
    <a:srgbClr val="0988F1"/>
    <a:srgbClr val="216BFF"/>
    <a:srgbClr val="009AD0"/>
    <a:srgbClr val="A20000"/>
    <a:srgbClr val="A40000"/>
    <a:srgbClr val="9E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4" autoAdjust="0"/>
    <p:restoredTop sz="96182" autoAdjust="0"/>
  </p:normalViewPr>
  <p:slideViewPr>
    <p:cSldViewPr snapToGrid="0">
      <p:cViewPr varScale="1">
        <p:scale>
          <a:sx n="58" d="100"/>
          <a:sy n="58" d="100"/>
        </p:scale>
        <p:origin x="912" y="4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leil Yi" userId="c719b956-004a-4243-81dc-14be649b7814" providerId="ADAL" clId="{8F8240B5-609B-44D0-93FF-FB3B2CBC4934}"/>
    <pc:docChg chg="custSel modSld">
      <pc:chgData name="Soleil Yi" userId="c719b956-004a-4243-81dc-14be649b7814" providerId="ADAL" clId="{8F8240B5-609B-44D0-93FF-FB3B2CBC4934}" dt="2022-09-08T08:44:04.377" v="15" actId="12788"/>
      <pc:docMkLst>
        <pc:docMk/>
      </pc:docMkLst>
      <pc:sldChg chg="modSp mod">
        <pc:chgData name="Soleil Yi" userId="c719b956-004a-4243-81dc-14be649b7814" providerId="ADAL" clId="{8F8240B5-609B-44D0-93FF-FB3B2CBC4934}" dt="2022-09-08T08:44:04.377" v="15" actId="12788"/>
        <pc:sldMkLst>
          <pc:docMk/>
          <pc:sldMk cId="2271741893" sldId="256"/>
        </pc:sldMkLst>
        <pc:spChg chg="mod">
          <ac:chgData name="Soleil Yi" userId="c719b956-004a-4243-81dc-14be649b7814" providerId="ADAL" clId="{8F8240B5-609B-44D0-93FF-FB3B2CBC4934}" dt="2022-09-08T08:44:04.377" v="15" actId="12788"/>
          <ac:spMkLst>
            <pc:docMk/>
            <pc:sldMk cId="2271741893" sldId="256"/>
            <ac:spMk id="5" creationId="{00000000-0000-0000-0000-000000000000}"/>
          </ac:spMkLst>
        </pc:spChg>
      </pc:sldChg>
    </pc:docChg>
  </pc:docChgLst>
  <pc:docChgLst>
    <pc:chgData name="成平 曾" userId="fd1918ea-2df8-4eee-b319-b4160af742b7" providerId="ADAL" clId="{8DFD4203-D9ED-440C-90F0-E44693686A18}"/>
    <pc:docChg chg="custSel addSld modSld">
      <pc:chgData name="成平 曾" userId="fd1918ea-2df8-4eee-b319-b4160af742b7" providerId="ADAL" clId="{8DFD4203-D9ED-440C-90F0-E44693686A18}" dt="2018-07-30T02:23:45.022" v="3"/>
      <pc:docMkLst>
        <pc:docMk/>
      </pc:docMkLst>
      <pc:sldChg chg="addSp delSp add modTransition">
        <pc:chgData name="成平 曾" userId="fd1918ea-2df8-4eee-b319-b4160af742b7" providerId="ADAL" clId="{8DFD4203-D9ED-440C-90F0-E44693686A18}" dt="2018-07-30T02:23:45.022" v="3"/>
        <pc:sldMkLst>
          <pc:docMk/>
          <pc:sldMk cId="545778957" sldId="259"/>
        </pc:sldMkLst>
        <pc:spChg chg="add">
          <ac:chgData name="成平 曾" userId="fd1918ea-2df8-4eee-b319-b4160af742b7" providerId="ADAL" clId="{8DFD4203-D9ED-440C-90F0-E44693686A18}" dt="2018-07-30T02:23:45.022" v="3"/>
          <ac:spMkLst>
            <pc:docMk/>
            <pc:sldMk cId="545778957" sldId="259"/>
            <ac:spMk id="45" creationId="{691C252C-F4D2-4CE4-9EB3-ED2888C92C09}"/>
          </ac:spMkLst>
        </pc:spChg>
        <pc:spChg chg="del">
          <ac:chgData name="成平 曾" userId="fd1918ea-2df8-4eee-b319-b4160af742b7" providerId="ADAL" clId="{8DFD4203-D9ED-440C-90F0-E44693686A18}" dt="2018-07-30T02:23:44.728" v="2" actId="478"/>
          <ac:spMkLst>
            <pc:docMk/>
            <pc:sldMk cId="545778957" sldId="259"/>
            <ac:spMk id="51" creationId="{DB6B50C1-7119-4649-A59E-12A0D311364C}"/>
          </ac:spMkLst>
        </pc:spChg>
      </pc:sldChg>
    </pc:docChg>
  </pc:docChgLst>
  <pc:docChgLst>
    <pc:chgData name="成平 曾" userId="fd1918ea-2df8-4eee-b319-b4160af742b7" providerId="ADAL" clId="{25AB174D-796C-4582-8DA1-6AF1126328A7}"/>
    <pc:docChg chg="custSel delSld modSld sldOrd">
      <pc:chgData name="成平 曾" userId="fd1918ea-2df8-4eee-b319-b4160af742b7" providerId="ADAL" clId="{25AB174D-796C-4582-8DA1-6AF1126328A7}" dt="2018-07-30T02:16:04.191" v="105"/>
      <pc:docMkLst>
        <pc:docMk/>
      </pc:docMkLst>
      <pc:sldChg chg="addSp delSp modSp modTransition">
        <pc:chgData name="成平 曾" userId="fd1918ea-2df8-4eee-b319-b4160af742b7" providerId="ADAL" clId="{25AB174D-796C-4582-8DA1-6AF1126328A7}" dt="2018-07-30T02:14:18.036" v="53"/>
        <pc:sldMkLst>
          <pc:docMk/>
          <pc:sldMk cId="745032783" sldId="263"/>
        </pc:sldMkLst>
        <pc:spChg chg="add del mod">
          <ac:chgData name="成平 曾" userId="fd1918ea-2df8-4eee-b319-b4160af742b7" providerId="ADAL" clId="{25AB174D-796C-4582-8DA1-6AF1126328A7}" dt="2018-07-30T02:14:17.809" v="52" actId="478"/>
          <ac:spMkLst>
            <pc:docMk/>
            <pc:sldMk cId="745032783" sldId="263"/>
            <ac:spMk id="30" creationId="{0084FEA1-D889-44E5-9742-EB131E0431E7}"/>
          </ac:spMkLst>
        </pc:spChg>
        <pc:spChg chg="add">
          <ac:chgData name="成平 曾" userId="fd1918ea-2df8-4eee-b319-b4160af742b7" providerId="ADAL" clId="{25AB174D-796C-4582-8DA1-6AF1126328A7}" dt="2018-07-30T02:14:18.036" v="53"/>
          <ac:spMkLst>
            <pc:docMk/>
            <pc:sldMk cId="745032783" sldId="263"/>
            <ac:spMk id="31" creationId="{DAE001C2-4C13-4B81-8DEF-587F0475D5C3}"/>
          </ac:spMkLst>
        </pc:spChg>
      </pc:sldChg>
      <pc:sldChg chg="addSp modTransition">
        <pc:chgData name="成平 曾" userId="fd1918ea-2df8-4eee-b319-b4160af742b7" providerId="ADAL" clId="{25AB174D-796C-4582-8DA1-6AF1126328A7}" dt="2018-07-30T02:14:20.113" v="54"/>
        <pc:sldMkLst>
          <pc:docMk/>
          <pc:sldMk cId="1646487189" sldId="264"/>
        </pc:sldMkLst>
        <pc:spChg chg="add">
          <ac:chgData name="成平 曾" userId="fd1918ea-2df8-4eee-b319-b4160af742b7" providerId="ADAL" clId="{25AB174D-796C-4582-8DA1-6AF1126328A7}" dt="2018-07-30T02:14:20.113" v="54"/>
          <ac:spMkLst>
            <pc:docMk/>
            <pc:sldMk cId="1646487189" sldId="264"/>
            <ac:spMk id="47" creationId="{E5DEE5E9-29F9-4569-B160-ED6B322E481B}"/>
          </ac:spMkLst>
        </pc:spChg>
      </pc:sldChg>
      <pc:sldChg chg="addSp modSp ord modTransition">
        <pc:chgData name="成平 曾" userId="fd1918ea-2df8-4eee-b319-b4160af742b7" providerId="ADAL" clId="{25AB174D-796C-4582-8DA1-6AF1126328A7}" dt="2018-07-30T02:14:09.341" v="51" actId="14100"/>
        <pc:sldMkLst>
          <pc:docMk/>
          <pc:sldMk cId="2958572277" sldId="265"/>
        </pc:sldMkLst>
        <pc:spChg chg="add mod">
          <ac:chgData name="成平 曾" userId="fd1918ea-2df8-4eee-b319-b4160af742b7" providerId="ADAL" clId="{25AB174D-796C-4582-8DA1-6AF1126328A7}" dt="2018-07-30T02:14:09.341" v="51" actId="14100"/>
          <ac:spMkLst>
            <pc:docMk/>
            <pc:sldMk cId="2958572277" sldId="265"/>
            <ac:spMk id="66" creationId="{F9F18485-26E6-4463-9EA4-7BEC48527BBB}"/>
          </ac:spMkLst>
        </pc:spChg>
      </pc:sldChg>
      <pc:sldChg chg="addSp modSp modTransition">
        <pc:chgData name="成平 曾" userId="fd1918ea-2df8-4eee-b319-b4160af742b7" providerId="ADAL" clId="{25AB174D-796C-4582-8DA1-6AF1126328A7}" dt="2018-07-30T02:15:58.807" v="104"/>
        <pc:sldMkLst>
          <pc:docMk/>
          <pc:sldMk cId="194311464" sldId="266"/>
        </pc:sldMkLst>
        <pc:spChg chg="add mod">
          <ac:chgData name="成平 曾" userId="fd1918ea-2df8-4eee-b319-b4160af742b7" providerId="ADAL" clId="{25AB174D-796C-4582-8DA1-6AF1126328A7}" dt="2018-07-30T02:15:58.807" v="104"/>
          <ac:spMkLst>
            <pc:docMk/>
            <pc:sldMk cId="194311464" sldId="266"/>
            <ac:spMk id="89" creationId="{F056E86D-4F76-48FC-8B09-A2BE84DC2E44}"/>
          </ac:spMkLst>
        </pc:spChg>
      </pc:sldChg>
      <pc:sldChg chg="del">
        <pc:chgData name="成平 曾" userId="fd1918ea-2df8-4eee-b319-b4160af742b7" providerId="ADAL" clId="{25AB174D-796C-4582-8DA1-6AF1126328A7}" dt="2018-07-30T02:12:01.316" v="4" actId="2696"/>
        <pc:sldMkLst>
          <pc:docMk/>
          <pc:sldMk cId="4053583199" sldId="267"/>
        </pc:sldMkLst>
      </pc:sldChg>
      <pc:sldChg chg="del">
        <pc:chgData name="成平 曾" userId="fd1918ea-2df8-4eee-b319-b4160af742b7" providerId="ADAL" clId="{25AB174D-796C-4582-8DA1-6AF1126328A7}" dt="2018-07-30T02:12:01.275" v="0" actId="2696"/>
        <pc:sldMkLst>
          <pc:docMk/>
          <pc:sldMk cId="558770741" sldId="270"/>
        </pc:sldMkLst>
      </pc:sldChg>
      <pc:sldChg chg="del">
        <pc:chgData name="成平 曾" userId="fd1918ea-2df8-4eee-b319-b4160af742b7" providerId="ADAL" clId="{25AB174D-796C-4582-8DA1-6AF1126328A7}" dt="2018-07-30T02:12:01.303" v="3" actId="2696"/>
        <pc:sldMkLst>
          <pc:docMk/>
          <pc:sldMk cId="1820242946" sldId="274"/>
        </pc:sldMkLst>
      </pc:sldChg>
      <pc:sldChg chg="del">
        <pc:chgData name="成平 曾" userId="fd1918ea-2df8-4eee-b319-b4160af742b7" providerId="ADAL" clId="{25AB174D-796C-4582-8DA1-6AF1126328A7}" dt="2018-07-30T02:12:01.333" v="6" actId="2696"/>
        <pc:sldMkLst>
          <pc:docMk/>
          <pc:sldMk cId="477884624" sldId="275"/>
        </pc:sldMkLst>
      </pc:sldChg>
      <pc:sldChg chg="del">
        <pc:chgData name="成平 曾" userId="fd1918ea-2df8-4eee-b319-b4160af742b7" providerId="ADAL" clId="{25AB174D-796C-4582-8DA1-6AF1126328A7}" dt="2018-07-30T02:12:01.340" v="7" actId="2696"/>
        <pc:sldMkLst>
          <pc:docMk/>
          <pc:sldMk cId="2782375922" sldId="276"/>
        </pc:sldMkLst>
      </pc:sldChg>
      <pc:sldChg chg="del">
        <pc:chgData name="成平 曾" userId="fd1918ea-2df8-4eee-b319-b4160af742b7" providerId="ADAL" clId="{25AB174D-796C-4582-8DA1-6AF1126328A7}" dt="2018-07-30T02:12:01.324" v="5" actId="2696"/>
        <pc:sldMkLst>
          <pc:docMk/>
          <pc:sldMk cId="2088582390" sldId="277"/>
        </pc:sldMkLst>
      </pc:sldChg>
      <pc:sldChg chg="del">
        <pc:chgData name="成平 曾" userId="fd1918ea-2df8-4eee-b319-b4160af742b7" providerId="ADAL" clId="{25AB174D-796C-4582-8DA1-6AF1126328A7}" dt="2018-07-30T02:12:01.292" v="2" actId="2696"/>
        <pc:sldMkLst>
          <pc:docMk/>
          <pc:sldMk cId="761741927" sldId="279"/>
        </pc:sldMkLst>
      </pc:sldChg>
      <pc:sldChg chg="del">
        <pc:chgData name="成平 曾" userId="fd1918ea-2df8-4eee-b319-b4160af742b7" providerId="ADAL" clId="{25AB174D-796C-4582-8DA1-6AF1126328A7}" dt="2018-07-30T02:12:01.284" v="1" actId="2696"/>
        <pc:sldMkLst>
          <pc:docMk/>
          <pc:sldMk cId="3420189757" sldId="281"/>
        </pc:sldMkLst>
      </pc:sldChg>
      <pc:sldChg chg="addSp modTransition">
        <pc:chgData name="成平 曾" userId="fd1918ea-2df8-4eee-b319-b4160af742b7" providerId="ADAL" clId="{25AB174D-796C-4582-8DA1-6AF1126328A7}" dt="2018-07-30T02:16:04.191" v="105"/>
        <pc:sldMkLst>
          <pc:docMk/>
          <pc:sldMk cId="3563110417" sldId="282"/>
        </pc:sldMkLst>
        <pc:spChg chg="add">
          <ac:chgData name="成平 曾" userId="fd1918ea-2df8-4eee-b319-b4160af742b7" providerId="ADAL" clId="{25AB174D-796C-4582-8DA1-6AF1126328A7}" dt="2018-07-30T02:16:04.191" v="105"/>
          <ac:spMkLst>
            <pc:docMk/>
            <pc:sldMk cId="3563110417" sldId="282"/>
            <ac:spMk id="68" creationId="{6587B3EC-A802-406A-8E1F-EF102EC71C6C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1B2D451A-9D7D-4A7B-BDE1-896EE750ECF5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210051" y="4339822"/>
            <a:ext cx="3773486" cy="558799"/>
          </a:xfrm>
          <a:prstGeom prst="roundRect">
            <a:avLst>
              <a:gd name="adj" fmla="val 50000"/>
            </a:avLst>
          </a:prstGeom>
          <a:ln w="19050">
            <a:solidFill>
              <a:schemeClr val="bg1"/>
            </a:solidFill>
          </a:ln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986971"/>
            <a:ext cx="10847389" cy="3069211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194892"/>
            <a:ext cx="10847389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491163"/>
            <a:ext cx="10847389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7DCF375E-9414-47AE-B455-CCFD0E02AE08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blipFill>
            <a:blip r:embed="rId2">
              <a:alphaModFix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3186669" y="2788557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3187785" y="3683907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>
                    <a:lumMod val="50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5CC83461-E25B-426A-A6DA-4932402506C0}"/>
              </a:ext>
            </a:extLst>
          </p:cNvPr>
          <p:cNvSpPr/>
          <p:nvPr userDrawn="1"/>
        </p:nvSpPr>
        <p:spPr>
          <a:xfrm flipH="1">
            <a:off x="0" y="1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861116"/>
            <a:ext cx="10847388" cy="2118662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664505"/>
            <a:ext cx="1084738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368234"/>
            <a:ext cx="1084738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7.xml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4831080" y="4339822"/>
            <a:ext cx="2529840" cy="558799"/>
          </a:xfrm>
        </p:spPr>
        <p:txBody>
          <a:bodyPr>
            <a:normAutofit/>
          </a:bodyPr>
          <a:lstStyle/>
          <a:p>
            <a:r>
              <a:rPr lang="zh-CN" altLang="en-US" dirty="0"/>
              <a:t>汇报人：</a:t>
            </a:r>
            <a:r>
              <a:rPr lang="en-US" altLang="zh-CN" dirty="0" err="1"/>
              <a:t>OfficePLUS</a:t>
            </a:r>
            <a:endParaRPr lang="en-US" altLang="zh-CN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 lvl="0"/>
            <a:r>
              <a:rPr lang="zh-CN" altLang="zh-CN" sz="8800" dirty="0"/>
              <a:t>YEAR-END</a:t>
            </a:r>
            <a:br>
              <a:rPr lang="en-US" altLang="zh-CN" sz="8800" dirty="0"/>
            </a:br>
            <a:r>
              <a:rPr lang="zh-CN" altLang="zh-CN" sz="8800" dirty="0"/>
              <a:t>REPORT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/>
              <a:t>Speaker name and title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E1E088-D243-4FCE-8DB9-4150F4B412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完成概述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1A599E8-083E-4BA3-A9F4-859502916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D8F9747-FF14-40A5-B247-1CC55A6FC3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圆: 空心 4">
            <a:extLst>
              <a:ext uri="{FF2B5EF4-FFF2-40B4-BE49-F238E27FC236}">
                <a16:creationId xmlns:a16="http://schemas.microsoft.com/office/drawing/2014/main" id="{A6A7F2F5-1729-493A-AE30-903496AE9288}"/>
              </a:ext>
            </a:extLst>
          </p:cNvPr>
          <p:cNvSpPr/>
          <p:nvPr/>
        </p:nvSpPr>
        <p:spPr>
          <a:xfrm>
            <a:off x="4368111" y="1898264"/>
            <a:ext cx="3382518" cy="3382518"/>
          </a:xfrm>
          <a:prstGeom prst="donut">
            <a:avLst>
              <a:gd name="adj" fmla="val 624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>
              <a:buSzPct val="25000"/>
            </a:pPr>
            <a:r>
              <a:rPr lang="de-DE" altLang="zh-CN" b="1">
                <a:sym typeface="Calibri"/>
              </a:rPr>
              <a:t>Text here</a:t>
            </a:r>
            <a:endParaRPr lang="de-DE" altLang="zh-CN" b="1" dirty="0">
              <a:sym typeface="Calibri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3B7B09A7-04F4-4A60-81FA-BBABDBBE00B3}"/>
              </a:ext>
            </a:extLst>
          </p:cNvPr>
          <p:cNvCxnSpPr>
            <a:cxnSpLocks/>
            <a:stCxn id="12" idx="2"/>
            <a:endCxn id="10" idx="0"/>
          </p:cNvCxnSpPr>
          <p:nvPr/>
        </p:nvCxnSpPr>
        <p:spPr>
          <a:xfrm>
            <a:off x="4841547" y="3589523"/>
            <a:ext cx="243565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24A2297A-A0AE-46C2-B94F-7D670AB64F37}"/>
              </a:ext>
            </a:extLst>
          </p:cNvPr>
          <p:cNvCxnSpPr>
            <a:cxnSpLocks/>
            <a:stCxn id="9" idx="3"/>
            <a:endCxn id="11" idx="1"/>
          </p:cNvCxnSpPr>
          <p:nvPr/>
        </p:nvCxnSpPr>
        <p:spPr>
          <a:xfrm>
            <a:off x="6059370" y="2371698"/>
            <a:ext cx="0" cy="2435652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0365152A-BD2C-4DFC-8609-ED5F03B18E2D}"/>
              </a:ext>
            </a:extLst>
          </p:cNvPr>
          <p:cNvSpPr/>
          <p:nvPr/>
        </p:nvSpPr>
        <p:spPr>
          <a:xfrm>
            <a:off x="5262366" y="2792519"/>
            <a:ext cx="1594007" cy="1594007"/>
          </a:xfrm>
          <a:custGeom>
            <a:avLst/>
            <a:gdLst>
              <a:gd name="connsiteX0" fmla="*/ 0 w 1188002"/>
              <a:gd name="connsiteY0" fmla="*/ 594001 h 1188002"/>
              <a:gd name="connsiteX1" fmla="*/ 594001 w 1188002"/>
              <a:gd name="connsiteY1" fmla="*/ 0 h 1188002"/>
              <a:gd name="connsiteX2" fmla="*/ 1188002 w 1188002"/>
              <a:gd name="connsiteY2" fmla="*/ 594001 h 1188002"/>
              <a:gd name="connsiteX3" fmla="*/ 594001 w 1188002"/>
              <a:gd name="connsiteY3" fmla="*/ 1188002 h 1188002"/>
              <a:gd name="connsiteX4" fmla="*/ 0 w 1188002"/>
              <a:gd name="connsiteY4" fmla="*/ 594001 h 118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8002" h="1188002">
                <a:moveTo>
                  <a:pt x="0" y="594001"/>
                </a:moveTo>
                <a:cubicBezTo>
                  <a:pt x="0" y="265943"/>
                  <a:pt x="265943" y="0"/>
                  <a:pt x="594001" y="0"/>
                </a:cubicBezTo>
                <a:cubicBezTo>
                  <a:pt x="922059" y="0"/>
                  <a:pt x="1188002" y="265943"/>
                  <a:pt x="1188002" y="594001"/>
                </a:cubicBezTo>
                <a:cubicBezTo>
                  <a:pt x="1188002" y="922059"/>
                  <a:pt x="922059" y="1188002"/>
                  <a:pt x="594001" y="1188002"/>
                </a:cubicBezTo>
                <a:cubicBezTo>
                  <a:pt x="265943" y="1188002"/>
                  <a:pt x="0" y="922059"/>
                  <a:pt x="0" y="594001"/>
                </a:cubicBezTo>
                <a:close/>
              </a:path>
            </a:pathLst>
          </a:custGeom>
          <a:ln>
            <a:noFill/>
          </a:ln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SzPct val="25000"/>
            </a:pPr>
            <a:r>
              <a:rPr lang="de-DE" altLang="zh-CN" b="1">
                <a:sym typeface="Calibri"/>
              </a:rPr>
              <a:t>Text here</a:t>
            </a:r>
            <a:endParaRPr lang="de-DE" altLang="zh-CN" b="1" dirty="0">
              <a:sym typeface="Calibri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9EF2B316-E648-4793-A723-69B6E5B211AE}"/>
              </a:ext>
            </a:extLst>
          </p:cNvPr>
          <p:cNvSpPr/>
          <p:nvPr/>
        </p:nvSpPr>
        <p:spPr>
          <a:xfrm>
            <a:off x="5616430" y="1485817"/>
            <a:ext cx="885880" cy="885880"/>
          </a:xfrm>
          <a:custGeom>
            <a:avLst/>
            <a:gdLst>
              <a:gd name="connsiteX0" fmla="*/ 0 w 950965"/>
              <a:gd name="connsiteY0" fmla="*/ 475483 h 950965"/>
              <a:gd name="connsiteX1" fmla="*/ 475483 w 950965"/>
              <a:gd name="connsiteY1" fmla="*/ 0 h 950965"/>
              <a:gd name="connsiteX2" fmla="*/ 950966 w 950965"/>
              <a:gd name="connsiteY2" fmla="*/ 475483 h 950965"/>
              <a:gd name="connsiteX3" fmla="*/ 475483 w 950965"/>
              <a:gd name="connsiteY3" fmla="*/ 950966 h 950965"/>
              <a:gd name="connsiteX4" fmla="*/ 0 w 950965"/>
              <a:gd name="connsiteY4" fmla="*/ 475483 h 950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0965" h="950965">
                <a:moveTo>
                  <a:pt x="0" y="475483"/>
                </a:moveTo>
                <a:cubicBezTo>
                  <a:pt x="0" y="212881"/>
                  <a:pt x="212881" y="0"/>
                  <a:pt x="475483" y="0"/>
                </a:cubicBezTo>
                <a:cubicBezTo>
                  <a:pt x="738085" y="0"/>
                  <a:pt x="950966" y="212881"/>
                  <a:pt x="950966" y="475483"/>
                </a:cubicBezTo>
                <a:cubicBezTo>
                  <a:pt x="950966" y="738085"/>
                  <a:pt x="738085" y="950966"/>
                  <a:pt x="475483" y="950966"/>
                </a:cubicBezTo>
                <a:cubicBezTo>
                  <a:pt x="212881" y="950966"/>
                  <a:pt x="0" y="738085"/>
                  <a:pt x="0" y="475483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2">
              <a:hueOff val="-955721"/>
              <a:satOff val="-23029"/>
              <a:lumOff val="-13857"/>
              <a:alphaOff val="0"/>
            </a:schemeClr>
          </a:fillRef>
          <a:effectRef idx="0">
            <a:schemeClr val="accent2">
              <a:hueOff val="-955721"/>
              <a:satOff val="-23029"/>
              <a:lumOff val="-13857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anchor="ctr" anchorCtr="1">
            <a:normAutofit/>
          </a:bodyPr>
          <a:lstStyle/>
          <a:p>
            <a:pPr algn="ctr">
              <a:buSzPct val="25000"/>
            </a:pPr>
            <a:r>
              <a:rPr lang="de-DE" altLang="zh-CN" sz="1400" dirty="0">
                <a:sym typeface="Calibri"/>
              </a:rPr>
              <a:t>Text</a:t>
            </a: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FD471E03-2CCC-4369-B433-24BB0BD5F39E}"/>
              </a:ext>
            </a:extLst>
          </p:cNvPr>
          <p:cNvSpPr/>
          <p:nvPr/>
        </p:nvSpPr>
        <p:spPr>
          <a:xfrm>
            <a:off x="7277198" y="3146583"/>
            <a:ext cx="885880" cy="885880"/>
          </a:xfrm>
          <a:custGeom>
            <a:avLst/>
            <a:gdLst>
              <a:gd name="connsiteX0" fmla="*/ 0 w 950965"/>
              <a:gd name="connsiteY0" fmla="*/ 475483 h 950965"/>
              <a:gd name="connsiteX1" fmla="*/ 475483 w 950965"/>
              <a:gd name="connsiteY1" fmla="*/ 0 h 950965"/>
              <a:gd name="connsiteX2" fmla="*/ 950966 w 950965"/>
              <a:gd name="connsiteY2" fmla="*/ 475483 h 950965"/>
              <a:gd name="connsiteX3" fmla="*/ 475483 w 950965"/>
              <a:gd name="connsiteY3" fmla="*/ 950966 h 950965"/>
              <a:gd name="connsiteX4" fmla="*/ 0 w 950965"/>
              <a:gd name="connsiteY4" fmla="*/ 475483 h 950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0965" h="950965">
                <a:moveTo>
                  <a:pt x="0" y="475483"/>
                </a:moveTo>
                <a:cubicBezTo>
                  <a:pt x="0" y="212881"/>
                  <a:pt x="212881" y="0"/>
                  <a:pt x="475483" y="0"/>
                </a:cubicBezTo>
                <a:cubicBezTo>
                  <a:pt x="738085" y="0"/>
                  <a:pt x="950966" y="212881"/>
                  <a:pt x="950966" y="475483"/>
                </a:cubicBezTo>
                <a:cubicBezTo>
                  <a:pt x="950966" y="738085"/>
                  <a:pt x="738085" y="950966"/>
                  <a:pt x="475483" y="950966"/>
                </a:cubicBezTo>
                <a:cubicBezTo>
                  <a:pt x="212881" y="950966"/>
                  <a:pt x="0" y="738085"/>
                  <a:pt x="0" y="475483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2">
              <a:hueOff val="-955721"/>
              <a:satOff val="-23029"/>
              <a:lumOff val="-13857"/>
              <a:alphaOff val="0"/>
            </a:schemeClr>
          </a:fillRef>
          <a:effectRef idx="0">
            <a:schemeClr val="accent2">
              <a:hueOff val="-955721"/>
              <a:satOff val="-23029"/>
              <a:lumOff val="-13857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anchor="ctr" anchorCtr="1">
            <a:normAutofit/>
          </a:bodyPr>
          <a:lstStyle/>
          <a:p>
            <a:pPr algn="ctr">
              <a:buSzPct val="25000"/>
            </a:pPr>
            <a:r>
              <a:rPr lang="de-DE" altLang="zh-CN" sz="1400" dirty="0">
                <a:sym typeface="Calibri"/>
              </a:rPr>
              <a:t>Text</a:t>
            </a: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08F506A3-C66F-4B5C-AA17-0ECD09A85FE2}"/>
              </a:ext>
            </a:extLst>
          </p:cNvPr>
          <p:cNvSpPr/>
          <p:nvPr/>
        </p:nvSpPr>
        <p:spPr>
          <a:xfrm>
            <a:off x="5616430" y="4807350"/>
            <a:ext cx="885880" cy="885880"/>
          </a:xfrm>
          <a:custGeom>
            <a:avLst/>
            <a:gdLst>
              <a:gd name="connsiteX0" fmla="*/ 0 w 950965"/>
              <a:gd name="connsiteY0" fmla="*/ 475483 h 950965"/>
              <a:gd name="connsiteX1" fmla="*/ 475483 w 950965"/>
              <a:gd name="connsiteY1" fmla="*/ 0 h 950965"/>
              <a:gd name="connsiteX2" fmla="*/ 950966 w 950965"/>
              <a:gd name="connsiteY2" fmla="*/ 475483 h 950965"/>
              <a:gd name="connsiteX3" fmla="*/ 475483 w 950965"/>
              <a:gd name="connsiteY3" fmla="*/ 950966 h 950965"/>
              <a:gd name="connsiteX4" fmla="*/ 0 w 950965"/>
              <a:gd name="connsiteY4" fmla="*/ 475483 h 950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0965" h="950965">
                <a:moveTo>
                  <a:pt x="0" y="475483"/>
                </a:moveTo>
                <a:cubicBezTo>
                  <a:pt x="0" y="212881"/>
                  <a:pt x="212881" y="0"/>
                  <a:pt x="475483" y="0"/>
                </a:cubicBezTo>
                <a:cubicBezTo>
                  <a:pt x="738085" y="0"/>
                  <a:pt x="950966" y="212881"/>
                  <a:pt x="950966" y="475483"/>
                </a:cubicBezTo>
                <a:cubicBezTo>
                  <a:pt x="950966" y="738085"/>
                  <a:pt x="738085" y="950966"/>
                  <a:pt x="475483" y="950966"/>
                </a:cubicBezTo>
                <a:cubicBezTo>
                  <a:pt x="212881" y="950966"/>
                  <a:pt x="0" y="738085"/>
                  <a:pt x="0" y="475483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2">
              <a:hueOff val="-955721"/>
              <a:satOff val="-23029"/>
              <a:lumOff val="-13857"/>
              <a:alphaOff val="0"/>
            </a:schemeClr>
          </a:fillRef>
          <a:effectRef idx="0">
            <a:schemeClr val="accent2">
              <a:hueOff val="-955721"/>
              <a:satOff val="-23029"/>
              <a:lumOff val="-13857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anchor="ctr" anchorCtr="1">
            <a:normAutofit/>
          </a:bodyPr>
          <a:lstStyle/>
          <a:p>
            <a:pPr algn="ctr">
              <a:buSzPct val="25000"/>
            </a:pPr>
            <a:r>
              <a:rPr lang="de-DE" altLang="zh-CN" sz="1400" dirty="0">
                <a:sym typeface="Calibri"/>
              </a:rPr>
              <a:t>Text</a:t>
            </a: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F06E9DF4-74D3-47B6-8DE7-56A0B25D1179}"/>
              </a:ext>
            </a:extLst>
          </p:cNvPr>
          <p:cNvSpPr/>
          <p:nvPr/>
        </p:nvSpPr>
        <p:spPr>
          <a:xfrm>
            <a:off x="3955666" y="3146583"/>
            <a:ext cx="885880" cy="885880"/>
          </a:xfrm>
          <a:custGeom>
            <a:avLst/>
            <a:gdLst>
              <a:gd name="connsiteX0" fmla="*/ 0 w 950965"/>
              <a:gd name="connsiteY0" fmla="*/ 475483 h 950965"/>
              <a:gd name="connsiteX1" fmla="*/ 475483 w 950965"/>
              <a:gd name="connsiteY1" fmla="*/ 0 h 950965"/>
              <a:gd name="connsiteX2" fmla="*/ 950966 w 950965"/>
              <a:gd name="connsiteY2" fmla="*/ 475483 h 950965"/>
              <a:gd name="connsiteX3" fmla="*/ 475483 w 950965"/>
              <a:gd name="connsiteY3" fmla="*/ 950966 h 950965"/>
              <a:gd name="connsiteX4" fmla="*/ 0 w 950965"/>
              <a:gd name="connsiteY4" fmla="*/ 475483 h 9509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0965" h="950965">
                <a:moveTo>
                  <a:pt x="0" y="475483"/>
                </a:moveTo>
                <a:cubicBezTo>
                  <a:pt x="0" y="212881"/>
                  <a:pt x="212881" y="0"/>
                  <a:pt x="475483" y="0"/>
                </a:cubicBezTo>
                <a:cubicBezTo>
                  <a:pt x="738085" y="0"/>
                  <a:pt x="950966" y="212881"/>
                  <a:pt x="950966" y="475483"/>
                </a:cubicBezTo>
                <a:cubicBezTo>
                  <a:pt x="950966" y="738085"/>
                  <a:pt x="738085" y="950966"/>
                  <a:pt x="475483" y="950966"/>
                </a:cubicBezTo>
                <a:cubicBezTo>
                  <a:pt x="212881" y="950966"/>
                  <a:pt x="0" y="738085"/>
                  <a:pt x="0" y="475483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2">
              <a:hueOff val="-955721"/>
              <a:satOff val="-23029"/>
              <a:lumOff val="-13857"/>
              <a:alphaOff val="0"/>
            </a:schemeClr>
          </a:fillRef>
          <a:effectRef idx="0">
            <a:schemeClr val="accent2">
              <a:hueOff val="-955721"/>
              <a:satOff val="-23029"/>
              <a:lumOff val="-13857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anchor="ctr" anchorCtr="1">
            <a:normAutofit/>
          </a:bodyPr>
          <a:lstStyle/>
          <a:p>
            <a:pPr algn="ctr">
              <a:buSzPct val="25000"/>
            </a:pPr>
            <a:r>
              <a:rPr lang="de-DE" altLang="zh-CN" sz="1400" dirty="0">
                <a:sym typeface="Calibri"/>
              </a:rPr>
              <a:t>Text</a:t>
            </a: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EEBBC833-2EEB-4961-B08F-752EE37FE93A}"/>
              </a:ext>
            </a:extLst>
          </p:cNvPr>
          <p:cNvGrpSpPr/>
          <p:nvPr/>
        </p:nvGrpSpPr>
        <p:grpSpPr>
          <a:xfrm>
            <a:off x="8507726" y="2073221"/>
            <a:ext cx="3011174" cy="3117958"/>
            <a:chOff x="8507726" y="1073702"/>
            <a:chExt cx="3011174" cy="3117958"/>
          </a:xfrm>
        </p:grpSpPr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86511561-1F15-4DB2-A4D1-616F6AA05E6F}"/>
                </a:ext>
              </a:extLst>
            </p:cNvPr>
            <p:cNvGrpSpPr/>
            <p:nvPr/>
          </p:nvGrpSpPr>
          <p:grpSpPr>
            <a:xfrm>
              <a:off x="8507726" y="1073702"/>
              <a:ext cx="3011174" cy="1017430"/>
              <a:chOff x="8661000" y="1073702"/>
              <a:chExt cx="2295000" cy="1017430"/>
            </a:xfrm>
          </p:grpSpPr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3CD4C1DA-A967-4702-9B3E-B81F2AA235FA}"/>
                  </a:ext>
                </a:extLst>
              </p:cNvPr>
              <p:cNvSpPr txBox="1"/>
              <p:nvPr/>
            </p:nvSpPr>
            <p:spPr>
              <a:xfrm>
                <a:off x="8661000" y="1073702"/>
                <a:ext cx="2295000" cy="39251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r>
                  <a:rPr lang="en-US" altLang="zh-CN" sz="2000" b="1" dirty="0"/>
                  <a:t>…</a:t>
                </a:r>
                <a:r>
                  <a:rPr lang="zh-CN" altLang="en-US" sz="2000" b="1" dirty="0"/>
                  <a:t>概述</a:t>
                </a:r>
              </a:p>
            </p:txBody>
          </p:sp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9083D802-D914-421C-8EF8-AE322888846A}"/>
                  </a:ext>
                </a:extLst>
              </p:cNvPr>
              <p:cNvSpPr txBox="1"/>
              <p:nvPr/>
            </p:nvSpPr>
            <p:spPr>
              <a:xfrm>
                <a:off x="8661000" y="1466214"/>
                <a:ext cx="2295000" cy="6249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>
                    <a:ea typeface="Calibri"/>
                    <a:cs typeface="Calibri"/>
                    <a:sym typeface="Calibri"/>
                  </a:rPr>
                  <a:t>Copy paste fonts. Choose the only option to retain text.…</a:t>
                </a:r>
                <a:r>
                  <a:rPr lang="de-DE" sz="1200" dirty="0">
                    <a:ea typeface="Calibri"/>
                    <a:cs typeface="Calibri"/>
                    <a:sym typeface="Calibri"/>
                  </a:rPr>
                  <a:t>.</a:t>
                </a:r>
              </a:p>
            </p:txBody>
          </p: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2E8BD2C5-CEB3-48F6-A9FC-065C1471B3EC}"/>
                </a:ext>
              </a:extLst>
            </p:cNvPr>
            <p:cNvGrpSpPr/>
            <p:nvPr/>
          </p:nvGrpSpPr>
          <p:grpSpPr>
            <a:xfrm>
              <a:off x="8507726" y="3174230"/>
              <a:ext cx="3011174" cy="1017430"/>
              <a:chOff x="8661000" y="1781570"/>
              <a:chExt cx="2295000" cy="1017430"/>
            </a:xfrm>
          </p:grpSpPr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60E33CAE-949D-4C16-BC5D-566C78F3BE63}"/>
                  </a:ext>
                </a:extLst>
              </p:cNvPr>
              <p:cNvSpPr txBox="1"/>
              <p:nvPr/>
            </p:nvSpPr>
            <p:spPr>
              <a:xfrm>
                <a:off x="8661000" y="1781570"/>
                <a:ext cx="2295000" cy="39251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r>
                  <a:rPr lang="en-US" altLang="zh-CN" sz="2000" b="1" dirty="0"/>
                  <a:t>…</a:t>
                </a:r>
                <a:r>
                  <a:rPr lang="zh-CN" altLang="en-US" sz="2000" b="1" dirty="0"/>
                  <a:t>概述</a:t>
                </a:r>
              </a:p>
            </p:txBody>
          </p:sp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2B02C3CA-EB14-4D74-A452-5F3AEBB3A261}"/>
                  </a:ext>
                </a:extLst>
              </p:cNvPr>
              <p:cNvSpPr txBox="1"/>
              <p:nvPr/>
            </p:nvSpPr>
            <p:spPr>
              <a:xfrm>
                <a:off x="8661000" y="2174082"/>
                <a:ext cx="2295000" cy="6249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>
                    <a:ea typeface="Calibri"/>
                    <a:cs typeface="Calibri"/>
                    <a:sym typeface="Calibri"/>
                  </a:rPr>
                  <a:t>Copy paste fonts. Choose the only option to retain text.…</a:t>
                </a:r>
                <a:r>
                  <a:rPr lang="de-DE" sz="1200" dirty="0">
                    <a:ea typeface="Calibri"/>
                    <a:cs typeface="Calibri"/>
                    <a:sym typeface="Calibri"/>
                  </a:rPr>
                  <a:t>.</a:t>
                </a:r>
              </a:p>
            </p:txBody>
          </p:sp>
        </p:grp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6690EFCF-6663-4C99-BE99-E8EE38156DEB}"/>
              </a:ext>
            </a:extLst>
          </p:cNvPr>
          <p:cNvGrpSpPr/>
          <p:nvPr/>
        </p:nvGrpSpPr>
        <p:grpSpPr>
          <a:xfrm>
            <a:off x="660400" y="2073221"/>
            <a:ext cx="3011174" cy="3117958"/>
            <a:chOff x="8507726" y="1073702"/>
            <a:chExt cx="3011174" cy="3117958"/>
          </a:xfrm>
        </p:grpSpPr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FA72EB3D-E09E-48B0-BAA1-3106C094CB92}"/>
                </a:ext>
              </a:extLst>
            </p:cNvPr>
            <p:cNvGrpSpPr/>
            <p:nvPr/>
          </p:nvGrpSpPr>
          <p:grpSpPr>
            <a:xfrm>
              <a:off x="8507726" y="1073702"/>
              <a:ext cx="3011174" cy="1017430"/>
              <a:chOff x="8661000" y="1073702"/>
              <a:chExt cx="2295000" cy="1017430"/>
            </a:xfrm>
          </p:grpSpPr>
          <p:sp>
            <p:nvSpPr>
              <p:cNvPr id="25" name="文本框 24">
                <a:extLst>
                  <a:ext uri="{FF2B5EF4-FFF2-40B4-BE49-F238E27FC236}">
                    <a16:creationId xmlns:a16="http://schemas.microsoft.com/office/drawing/2014/main" id="{2FD08185-02BE-49DC-B75D-872BF71F80A3}"/>
                  </a:ext>
                </a:extLst>
              </p:cNvPr>
              <p:cNvSpPr txBox="1"/>
              <p:nvPr/>
            </p:nvSpPr>
            <p:spPr>
              <a:xfrm>
                <a:off x="8661000" y="1073702"/>
                <a:ext cx="2295000" cy="39251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r>
                  <a:rPr lang="en-US" altLang="zh-CN" sz="2000" b="1" dirty="0"/>
                  <a:t>…</a:t>
                </a:r>
                <a:r>
                  <a:rPr lang="zh-CN" altLang="en-US" sz="2000" b="1" dirty="0"/>
                  <a:t>概述</a:t>
                </a:r>
              </a:p>
            </p:txBody>
          </p:sp>
          <p:sp>
            <p:nvSpPr>
              <p:cNvPr id="26" name="文本框 25">
                <a:extLst>
                  <a:ext uri="{FF2B5EF4-FFF2-40B4-BE49-F238E27FC236}">
                    <a16:creationId xmlns:a16="http://schemas.microsoft.com/office/drawing/2014/main" id="{328F7B68-9253-45D2-A642-5B74F79B0D92}"/>
                  </a:ext>
                </a:extLst>
              </p:cNvPr>
              <p:cNvSpPr txBox="1"/>
              <p:nvPr/>
            </p:nvSpPr>
            <p:spPr>
              <a:xfrm>
                <a:off x="8661000" y="1466214"/>
                <a:ext cx="2295000" cy="6249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>
                    <a:ea typeface="Calibri"/>
                    <a:cs typeface="Calibri"/>
                    <a:sym typeface="Calibri"/>
                  </a:rPr>
                  <a:t>Copy paste fonts. Choose the only option to retain text.…</a:t>
                </a:r>
                <a:r>
                  <a:rPr lang="de-DE" sz="1200" dirty="0">
                    <a:ea typeface="Calibri"/>
                    <a:cs typeface="Calibri"/>
                    <a:sym typeface="Calibri"/>
                  </a:rPr>
                  <a:t>.</a:t>
                </a:r>
              </a:p>
            </p:txBody>
          </p:sp>
        </p:grpSp>
        <p:grpSp>
          <p:nvGrpSpPr>
            <p:cNvPr id="22" name="组合 21">
              <a:extLst>
                <a:ext uri="{FF2B5EF4-FFF2-40B4-BE49-F238E27FC236}">
                  <a16:creationId xmlns:a16="http://schemas.microsoft.com/office/drawing/2014/main" id="{8D636C53-0AA5-47B3-8B91-F49419B59118}"/>
                </a:ext>
              </a:extLst>
            </p:cNvPr>
            <p:cNvGrpSpPr/>
            <p:nvPr/>
          </p:nvGrpSpPr>
          <p:grpSpPr>
            <a:xfrm>
              <a:off x="8507726" y="3174230"/>
              <a:ext cx="3011174" cy="1017430"/>
              <a:chOff x="8661000" y="1781570"/>
              <a:chExt cx="2295000" cy="1017430"/>
            </a:xfrm>
          </p:grpSpPr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55A65AAB-2D68-4038-9288-F6CFB96E3B74}"/>
                  </a:ext>
                </a:extLst>
              </p:cNvPr>
              <p:cNvSpPr txBox="1"/>
              <p:nvPr/>
            </p:nvSpPr>
            <p:spPr>
              <a:xfrm>
                <a:off x="8661000" y="1781570"/>
                <a:ext cx="2295000" cy="39251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r>
                  <a:rPr lang="en-US" altLang="zh-CN" sz="2000" b="1" dirty="0"/>
                  <a:t>…</a:t>
                </a:r>
                <a:r>
                  <a:rPr lang="zh-CN" altLang="en-US" sz="2000" b="1" dirty="0"/>
                  <a:t>概述</a:t>
                </a:r>
              </a:p>
            </p:txBody>
          </p:sp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7C0C1375-E471-48D8-ACC6-E8970C99C297}"/>
                  </a:ext>
                </a:extLst>
              </p:cNvPr>
              <p:cNvSpPr txBox="1"/>
              <p:nvPr/>
            </p:nvSpPr>
            <p:spPr>
              <a:xfrm>
                <a:off x="8661000" y="2174082"/>
                <a:ext cx="2295000" cy="6249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45713" tIns="22850" rIns="45713" bIns="22850" anchor="t" anchorCtr="0">
                <a:noAutofit/>
              </a:bodyPr>
              <a:lstStyle/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>
                    <a:ea typeface="Calibri"/>
                    <a:cs typeface="Calibri"/>
                    <a:sym typeface="Calibri"/>
                  </a:rPr>
                  <a:t>Copy paste fonts. Choose the only option to retain text.…</a:t>
                </a:r>
                <a:r>
                  <a:rPr lang="de-DE" sz="1200" dirty="0">
                    <a:ea typeface="Calibri"/>
                    <a:cs typeface="Calibri"/>
                    <a:sym typeface="Calibri"/>
                  </a:rPr>
                  <a:t>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73793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7FFBC6E-D2C3-4871-90A9-3C6BC31732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完成阶段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7B8CE77-BBB5-464F-BFBF-421F969E6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B078ACA-C41D-486C-BDE9-664BCD29E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grpSp>
        <p:nvGrpSpPr>
          <p:cNvPr id="5" name="组合 4" descr="OQAAAB+LCAAAAAAABACrVlIpqSxIVbJSCs5NLCpxyUxML0rM9SxJzVXSUfJMUbLKK83J0VFyysxLycxLdy/KLy0oVrKKjq0FALpUkis5AAAA" title="iSlide™ 版权声明  COPYRIGHT NOTICE">
            <a:extLst>
              <a:ext uri="{FF2B5EF4-FFF2-40B4-BE49-F238E27FC236}">
                <a16:creationId xmlns:a16="http://schemas.microsoft.com/office/drawing/2014/main" id="{FE37B264-91F6-486C-B58A-2222D69C0B2E}"/>
              </a:ext>
            </a:extLst>
          </p:cNvPr>
          <p:cNvGrpSpPr>
            <a:grpSpLocks noChangeAspect="1"/>
          </p:cNvGrpSpPr>
          <p:nvPr/>
        </p:nvGrpSpPr>
        <p:grpSpPr>
          <a:xfrm>
            <a:off x="670299" y="1237897"/>
            <a:ext cx="10856990" cy="4886328"/>
            <a:chOff x="670299" y="1237897"/>
            <a:chExt cx="10856990" cy="4886328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E1860BD3-113B-44E5-8819-D71299F64021}"/>
                </a:ext>
              </a:extLst>
            </p:cNvPr>
            <p:cNvSpPr/>
            <p:nvPr/>
          </p:nvSpPr>
          <p:spPr bwMode="auto">
            <a:xfrm>
              <a:off x="5335148" y="2342642"/>
              <a:ext cx="1576807" cy="1226771"/>
            </a:xfrm>
            <a:custGeom>
              <a:avLst/>
              <a:gdLst>
                <a:gd name="T0" fmla="*/ 0 w 955"/>
                <a:gd name="T1" fmla="*/ 215 h 743"/>
                <a:gd name="T2" fmla="*/ 215 w 955"/>
                <a:gd name="T3" fmla="*/ 0 h 743"/>
                <a:gd name="T4" fmla="*/ 955 w 955"/>
                <a:gd name="T5" fmla="*/ 743 h 743"/>
                <a:gd name="T6" fmla="*/ 526 w 955"/>
                <a:gd name="T7" fmla="*/ 743 h 743"/>
                <a:gd name="T8" fmla="*/ 0 w 955"/>
                <a:gd name="T9" fmla="*/ 215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5" h="743">
                  <a:moveTo>
                    <a:pt x="0" y="215"/>
                  </a:moveTo>
                  <a:lnTo>
                    <a:pt x="215" y="0"/>
                  </a:lnTo>
                  <a:lnTo>
                    <a:pt x="955" y="743"/>
                  </a:lnTo>
                  <a:lnTo>
                    <a:pt x="526" y="743"/>
                  </a:lnTo>
                  <a:lnTo>
                    <a:pt x="0" y="215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600"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A95B57D3-AA24-449F-8424-A24D28427EDC}"/>
                </a:ext>
              </a:extLst>
            </p:cNvPr>
            <p:cNvSpPr/>
            <p:nvPr/>
          </p:nvSpPr>
          <p:spPr bwMode="auto">
            <a:xfrm flipV="1">
              <a:off x="5335148" y="3569413"/>
              <a:ext cx="1576807" cy="1226771"/>
            </a:xfrm>
            <a:custGeom>
              <a:avLst/>
              <a:gdLst>
                <a:gd name="T0" fmla="*/ 0 w 955"/>
                <a:gd name="T1" fmla="*/ 215 h 743"/>
                <a:gd name="T2" fmla="*/ 215 w 955"/>
                <a:gd name="T3" fmla="*/ 0 h 743"/>
                <a:gd name="T4" fmla="*/ 955 w 955"/>
                <a:gd name="T5" fmla="*/ 743 h 743"/>
                <a:gd name="T6" fmla="*/ 526 w 955"/>
                <a:gd name="T7" fmla="*/ 743 h 743"/>
                <a:gd name="T8" fmla="*/ 0 w 955"/>
                <a:gd name="T9" fmla="*/ 215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5" h="743">
                  <a:moveTo>
                    <a:pt x="0" y="215"/>
                  </a:moveTo>
                  <a:lnTo>
                    <a:pt x="215" y="0"/>
                  </a:lnTo>
                  <a:lnTo>
                    <a:pt x="955" y="743"/>
                  </a:lnTo>
                  <a:lnTo>
                    <a:pt x="526" y="743"/>
                  </a:lnTo>
                  <a:lnTo>
                    <a:pt x="0" y="215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600"/>
            </a:p>
          </p:txBody>
        </p:sp>
        <p:sp>
          <p:nvSpPr>
            <p:cNvPr id="8" name="菱形 7">
              <a:extLst>
                <a:ext uri="{FF2B5EF4-FFF2-40B4-BE49-F238E27FC236}">
                  <a16:creationId xmlns:a16="http://schemas.microsoft.com/office/drawing/2014/main" id="{4E31A380-BE7A-4EF3-AEA1-41C759E8FBC3}"/>
                </a:ext>
              </a:extLst>
            </p:cNvPr>
            <p:cNvSpPr/>
            <p:nvPr/>
          </p:nvSpPr>
          <p:spPr>
            <a:xfrm>
              <a:off x="3651638" y="2342642"/>
              <a:ext cx="2446113" cy="2453542"/>
            </a:xfrm>
            <a:prstGeom prst="diamond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sz="1600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8F56C806-25D0-4053-B1D3-9676BFCFE759}"/>
                </a:ext>
              </a:extLst>
            </p:cNvPr>
            <p:cNvSpPr/>
            <p:nvPr/>
          </p:nvSpPr>
          <p:spPr bwMode="auto">
            <a:xfrm>
              <a:off x="6149352" y="2342642"/>
              <a:ext cx="1576807" cy="1226771"/>
            </a:xfrm>
            <a:custGeom>
              <a:avLst/>
              <a:gdLst>
                <a:gd name="T0" fmla="*/ 0 w 955"/>
                <a:gd name="T1" fmla="*/ 215 h 743"/>
                <a:gd name="T2" fmla="*/ 215 w 955"/>
                <a:gd name="T3" fmla="*/ 0 h 743"/>
                <a:gd name="T4" fmla="*/ 955 w 955"/>
                <a:gd name="T5" fmla="*/ 743 h 743"/>
                <a:gd name="T6" fmla="*/ 526 w 955"/>
                <a:gd name="T7" fmla="*/ 743 h 743"/>
                <a:gd name="T8" fmla="*/ 0 w 955"/>
                <a:gd name="T9" fmla="*/ 215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5" h="743">
                  <a:moveTo>
                    <a:pt x="0" y="215"/>
                  </a:moveTo>
                  <a:lnTo>
                    <a:pt x="215" y="0"/>
                  </a:lnTo>
                  <a:lnTo>
                    <a:pt x="955" y="743"/>
                  </a:lnTo>
                  <a:lnTo>
                    <a:pt x="526" y="743"/>
                  </a:lnTo>
                  <a:lnTo>
                    <a:pt x="0" y="215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600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60A7423D-C2A2-46AC-91E8-A722940AC8CC}"/>
                </a:ext>
              </a:extLst>
            </p:cNvPr>
            <p:cNvSpPr/>
            <p:nvPr/>
          </p:nvSpPr>
          <p:spPr bwMode="auto">
            <a:xfrm flipV="1">
              <a:off x="6149352" y="3569413"/>
              <a:ext cx="1576807" cy="1226771"/>
            </a:xfrm>
            <a:custGeom>
              <a:avLst/>
              <a:gdLst>
                <a:gd name="T0" fmla="*/ 0 w 955"/>
                <a:gd name="T1" fmla="*/ 215 h 743"/>
                <a:gd name="T2" fmla="*/ 215 w 955"/>
                <a:gd name="T3" fmla="*/ 0 h 743"/>
                <a:gd name="T4" fmla="*/ 955 w 955"/>
                <a:gd name="T5" fmla="*/ 743 h 743"/>
                <a:gd name="T6" fmla="*/ 526 w 955"/>
                <a:gd name="T7" fmla="*/ 743 h 743"/>
                <a:gd name="T8" fmla="*/ 0 w 955"/>
                <a:gd name="T9" fmla="*/ 215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5" h="743">
                  <a:moveTo>
                    <a:pt x="0" y="215"/>
                  </a:moveTo>
                  <a:lnTo>
                    <a:pt x="215" y="0"/>
                  </a:lnTo>
                  <a:lnTo>
                    <a:pt x="955" y="743"/>
                  </a:lnTo>
                  <a:lnTo>
                    <a:pt x="526" y="743"/>
                  </a:lnTo>
                  <a:lnTo>
                    <a:pt x="0" y="215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600"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4F1C45B5-761A-4EEE-B66E-9AB0B2EDD7E8}"/>
                </a:ext>
              </a:extLst>
            </p:cNvPr>
            <p:cNvSpPr/>
            <p:nvPr/>
          </p:nvSpPr>
          <p:spPr bwMode="auto">
            <a:xfrm>
              <a:off x="6963555" y="2342642"/>
              <a:ext cx="1576807" cy="1226771"/>
            </a:xfrm>
            <a:custGeom>
              <a:avLst/>
              <a:gdLst>
                <a:gd name="T0" fmla="*/ 0 w 955"/>
                <a:gd name="T1" fmla="*/ 215 h 743"/>
                <a:gd name="T2" fmla="*/ 215 w 955"/>
                <a:gd name="T3" fmla="*/ 0 h 743"/>
                <a:gd name="T4" fmla="*/ 955 w 955"/>
                <a:gd name="T5" fmla="*/ 743 h 743"/>
                <a:gd name="T6" fmla="*/ 526 w 955"/>
                <a:gd name="T7" fmla="*/ 743 h 743"/>
                <a:gd name="T8" fmla="*/ 0 w 955"/>
                <a:gd name="T9" fmla="*/ 215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5" h="743">
                  <a:moveTo>
                    <a:pt x="0" y="215"/>
                  </a:moveTo>
                  <a:lnTo>
                    <a:pt x="215" y="0"/>
                  </a:lnTo>
                  <a:lnTo>
                    <a:pt x="955" y="743"/>
                  </a:lnTo>
                  <a:lnTo>
                    <a:pt x="526" y="743"/>
                  </a:lnTo>
                  <a:lnTo>
                    <a:pt x="0" y="215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600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792972E5-AB05-4EA9-9C3B-8A41F662D7EC}"/>
                </a:ext>
              </a:extLst>
            </p:cNvPr>
            <p:cNvSpPr/>
            <p:nvPr/>
          </p:nvSpPr>
          <p:spPr bwMode="auto">
            <a:xfrm flipV="1">
              <a:off x="6963555" y="3569413"/>
              <a:ext cx="1576807" cy="1226771"/>
            </a:xfrm>
            <a:custGeom>
              <a:avLst/>
              <a:gdLst>
                <a:gd name="T0" fmla="*/ 0 w 955"/>
                <a:gd name="T1" fmla="*/ 215 h 743"/>
                <a:gd name="T2" fmla="*/ 215 w 955"/>
                <a:gd name="T3" fmla="*/ 0 h 743"/>
                <a:gd name="T4" fmla="*/ 955 w 955"/>
                <a:gd name="T5" fmla="*/ 743 h 743"/>
                <a:gd name="T6" fmla="*/ 526 w 955"/>
                <a:gd name="T7" fmla="*/ 743 h 743"/>
                <a:gd name="T8" fmla="*/ 0 w 955"/>
                <a:gd name="T9" fmla="*/ 215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5" h="743">
                  <a:moveTo>
                    <a:pt x="0" y="215"/>
                  </a:moveTo>
                  <a:lnTo>
                    <a:pt x="215" y="0"/>
                  </a:lnTo>
                  <a:lnTo>
                    <a:pt x="955" y="743"/>
                  </a:lnTo>
                  <a:lnTo>
                    <a:pt x="526" y="743"/>
                  </a:lnTo>
                  <a:lnTo>
                    <a:pt x="0" y="215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 sz="1600"/>
            </a:p>
          </p:txBody>
        </p: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BEE78517-345F-4A7D-BC48-AB8E615EFB19}"/>
                </a:ext>
              </a:extLst>
            </p:cNvPr>
            <p:cNvGrpSpPr/>
            <p:nvPr/>
          </p:nvGrpSpPr>
          <p:grpSpPr>
            <a:xfrm>
              <a:off x="5308646" y="2285442"/>
              <a:ext cx="471648" cy="472390"/>
              <a:chOff x="4011823" y="1390650"/>
              <a:chExt cx="1064394" cy="1066068"/>
            </a:xfrm>
          </p:grpSpPr>
          <p:sp>
            <p:nvSpPr>
              <p:cNvPr id="34" name="椭圆 33">
                <a:extLst>
                  <a:ext uri="{FF2B5EF4-FFF2-40B4-BE49-F238E27FC236}">
                    <a16:creationId xmlns:a16="http://schemas.microsoft.com/office/drawing/2014/main" id="{573876F9-CA4B-4276-AEF2-3C546CE35F26}"/>
                  </a:ext>
                </a:extLst>
              </p:cNvPr>
              <p:cNvSpPr/>
              <p:nvPr/>
            </p:nvSpPr>
            <p:spPr bwMode="auto">
              <a:xfrm>
                <a:off x="4011823" y="1390650"/>
                <a:ext cx="1064394" cy="1066068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bg2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376D373C-ED53-45BB-A8BD-2005F2B94DCB}"/>
                  </a:ext>
                </a:extLst>
              </p:cNvPr>
              <p:cNvSpPr/>
              <p:nvPr/>
            </p:nvSpPr>
            <p:spPr>
              <a:xfrm>
                <a:off x="4306494" y="1679956"/>
                <a:ext cx="475056" cy="487456"/>
              </a:xfrm>
              <a:custGeom>
                <a:avLst/>
                <a:gdLst>
                  <a:gd name="T0" fmla="*/ 4313 w 5734"/>
                  <a:gd name="T1" fmla="*/ 3918 h 5892"/>
                  <a:gd name="T2" fmla="*/ 5734 w 5734"/>
                  <a:gd name="T3" fmla="*/ 2497 h 5892"/>
                  <a:gd name="T4" fmla="*/ 4313 w 5734"/>
                  <a:gd name="T5" fmla="*/ 1076 h 5892"/>
                  <a:gd name="T6" fmla="*/ 4149 w 5734"/>
                  <a:gd name="T7" fmla="*/ 1085 h 5892"/>
                  <a:gd name="T8" fmla="*/ 3733 w 5734"/>
                  <a:gd name="T9" fmla="*/ 378 h 5892"/>
                  <a:gd name="T10" fmla="*/ 2768 w 5734"/>
                  <a:gd name="T11" fmla="*/ 0 h 5892"/>
                  <a:gd name="T12" fmla="*/ 1389 w 5734"/>
                  <a:gd name="T13" fmla="*/ 1076 h 5892"/>
                  <a:gd name="T14" fmla="*/ 0 w 5734"/>
                  <a:gd name="T15" fmla="*/ 2497 h 5892"/>
                  <a:gd name="T16" fmla="*/ 1421 w 5734"/>
                  <a:gd name="T17" fmla="*/ 3918 h 5892"/>
                  <a:gd name="T18" fmla="*/ 2140 w 5734"/>
                  <a:gd name="T19" fmla="*/ 3918 h 5892"/>
                  <a:gd name="T20" fmla="*/ 2140 w 5734"/>
                  <a:gd name="T21" fmla="*/ 4472 h 5892"/>
                  <a:gd name="T22" fmla="*/ 1315 w 5734"/>
                  <a:gd name="T23" fmla="*/ 4472 h 5892"/>
                  <a:gd name="T24" fmla="*/ 954 w 5734"/>
                  <a:gd name="T25" fmla="*/ 4259 h 5892"/>
                  <a:gd name="T26" fmla="*/ 540 w 5734"/>
                  <a:gd name="T27" fmla="*/ 4672 h 5892"/>
                  <a:gd name="T28" fmla="*/ 954 w 5734"/>
                  <a:gd name="T29" fmla="*/ 5086 h 5892"/>
                  <a:gd name="T30" fmla="*/ 1315 w 5734"/>
                  <a:gd name="T31" fmla="*/ 4872 h 5892"/>
                  <a:gd name="T32" fmla="*/ 2340 w 5734"/>
                  <a:gd name="T33" fmla="*/ 4872 h 5892"/>
                  <a:gd name="T34" fmla="*/ 2540 w 5734"/>
                  <a:gd name="T35" fmla="*/ 4672 h 5892"/>
                  <a:gd name="T36" fmla="*/ 2540 w 5734"/>
                  <a:gd name="T37" fmla="*/ 3918 h 5892"/>
                  <a:gd name="T38" fmla="*/ 2667 w 5734"/>
                  <a:gd name="T39" fmla="*/ 3918 h 5892"/>
                  <a:gd name="T40" fmla="*/ 2667 w 5734"/>
                  <a:gd name="T41" fmla="*/ 5117 h 5892"/>
                  <a:gd name="T42" fmla="*/ 2454 w 5734"/>
                  <a:gd name="T43" fmla="*/ 5479 h 5892"/>
                  <a:gd name="T44" fmla="*/ 2867 w 5734"/>
                  <a:gd name="T45" fmla="*/ 5892 h 5892"/>
                  <a:gd name="T46" fmla="*/ 3280 w 5734"/>
                  <a:gd name="T47" fmla="*/ 5479 h 5892"/>
                  <a:gd name="T48" fmla="*/ 3067 w 5734"/>
                  <a:gd name="T49" fmla="*/ 5117 h 5892"/>
                  <a:gd name="T50" fmla="*/ 3067 w 5734"/>
                  <a:gd name="T51" fmla="*/ 3918 h 5892"/>
                  <a:gd name="T52" fmla="*/ 3194 w 5734"/>
                  <a:gd name="T53" fmla="*/ 3918 h 5892"/>
                  <a:gd name="T54" fmla="*/ 3194 w 5734"/>
                  <a:gd name="T55" fmla="*/ 4691 h 5892"/>
                  <a:gd name="T56" fmla="*/ 3394 w 5734"/>
                  <a:gd name="T57" fmla="*/ 4891 h 5892"/>
                  <a:gd name="T58" fmla="*/ 4430 w 5734"/>
                  <a:gd name="T59" fmla="*/ 4891 h 5892"/>
                  <a:gd name="T60" fmla="*/ 4780 w 5734"/>
                  <a:gd name="T61" fmla="*/ 5085 h 5892"/>
                  <a:gd name="T62" fmla="*/ 5194 w 5734"/>
                  <a:gd name="T63" fmla="*/ 4672 h 5892"/>
                  <a:gd name="T64" fmla="*/ 4780 w 5734"/>
                  <a:gd name="T65" fmla="*/ 4259 h 5892"/>
                  <a:gd name="T66" fmla="*/ 4409 w 5734"/>
                  <a:gd name="T67" fmla="*/ 4491 h 5892"/>
                  <a:gd name="T68" fmla="*/ 3594 w 5734"/>
                  <a:gd name="T69" fmla="*/ 4491 h 5892"/>
                  <a:gd name="T70" fmla="*/ 3594 w 5734"/>
                  <a:gd name="T71" fmla="*/ 3918 h 5892"/>
                  <a:gd name="T72" fmla="*/ 4313 w 5734"/>
                  <a:gd name="T73" fmla="*/ 3918 h 58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734" h="5892">
                    <a:moveTo>
                      <a:pt x="4313" y="3918"/>
                    </a:moveTo>
                    <a:cubicBezTo>
                      <a:pt x="5096" y="3918"/>
                      <a:pt x="5734" y="3280"/>
                      <a:pt x="5734" y="2497"/>
                    </a:cubicBezTo>
                    <a:cubicBezTo>
                      <a:pt x="5734" y="1713"/>
                      <a:pt x="5096" y="1076"/>
                      <a:pt x="4313" y="1076"/>
                    </a:cubicBezTo>
                    <a:cubicBezTo>
                      <a:pt x="4258" y="1076"/>
                      <a:pt x="4203" y="1079"/>
                      <a:pt x="4149" y="1085"/>
                    </a:cubicBezTo>
                    <a:cubicBezTo>
                      <a:pt x="4084" y="816"/>
                      <a:pt x="3940" y="570"/>
                      <a:pt x="3733" y="378"/>
                    </a:cubicBezTo>
                    <a:cubicBezTo>
                      <a:pt x="3470" y="134"/>
                      <a:pt x="3127" y="0"/>
                      <a:pt x="2768" y="0"/>
                    </a:cubicBezTo>
                    <a:cubicBezTo>
                      <a:pt x="2107" y="0"/>
                      <a:pt x="1544" y="451"/>
                      <a:pt x="1389" y="1076"/>
                    </a:cubicBezTo>
                    <a:cubicBezTo>
                      <a:pt x="620" y="1093"/>
                      <a:pt x="0" y="1724"/>
                      <a:pt x="0" y="2497"/>
                    </a:cubicBezTo>
                    <a:cubicBezTo>
                      <a:pt x="0" y="3281"/>
                      <a:pt x="638" y="3918"/>
                      <a:pt x="1421" y="3918"/>
                    </a:cubicBezTo>
                    <a:lnTo>
                      <a:pt x="2140" y="3918"/>
                    </a:lnTo>
                    <a:lnTo>
                      <a:pt x="2140" y="4472"/>
                    </a:lnTo>
                    <a:lnTo>
                      <a:pt x="1315" y="4472"/>
                    </a:lnTo>
                    <a:cubicBezTo>
                      <a:pt x="1245" y="4345"/>
                      <a:pt x="1109" y="4259"/>
                      <a:pt x="954" y="4259"/>
                    </a:cubicBezTo>
                    <a:cubicBezTo>
                      <a:pt x="726" y="4259"/>
                      <a:pt x="540" y="4444"/>
                      <a:pt x="540" y="4672"/>
                    </a:cubicBezTo>
                    <a:cubicBezTo>
                      <a:pt x="540" y="4900"/>
                      <a:pt x="726" y="5086"/>
                      <a:pt x="954" y="5086"/>
                    </a:cubicBezTo>
                    <a:cubicBezTo>
                      <a:pt x="1109" y="5086"/>
                      <a:pt x="1245" y="4999"/>
                      <a:pt x="1315" y="4872"/>
                    </a:cubicBezTo>
                    <a:lnTo>
                      <a:pt x="2340" y="4872"/>
                    </a:lnTo>
                    <a:cubicBezTo>
                      <a:pt x="2451" y="4872"/>
                      <a:pt x="2540" y="4783"/>
                      <a:pt x="2540" y="4672"/>
                    </a:cubicBezTo>
                    <a:lnTo>
                      <a:pt x="2540" y="3918"/>
                    </a:lnTo>
                    <a:lnTo>
                      <a:pt x="2667" y="3918"/>
                    </a:lnTo>
                    <a:lnTo>
                      <a:pt x="2667" y="5117"/>
                    </a:lnTo>
                    <a:cubicBezTo>
                      <a:pt x="2540" y="5188"/>
                      <a:pt x="2454" y="5323"/>
                      <a:pt x="2454" y="5479"/>
                    </a:cubicBezTo>
                    <a:cubicBezTo>
                      <a:pt x="2454" y="5707"/>
                      <a:pt x="2639" y="5892"/>
                      <a:pt x="2867" y="5892"/>
                    </a:cubicBezTo>
                    <a:cubicBezTo>
                      <a:pt x="3095" y="5892"/>
                      <a:pt x="3280" y="5707"/>
                      <a:pt x="3280" y="5479"/>
                    </a:cubicBezTo>
                    <a:cubicBezTo>
                      <a:pt x="3280" y="5323"/>
                      <a:pt x="3194" y="5188"/>
                      <a:pt x="3067" y="5117"/>
                    </a:cubicBezTo>
                    <a:lnTo>
                      <a:pt x="3067" y="3918"/>
                    </a:lnTo>
                    <a:lnTo>
                      <a:pt x="3194" y="3918"/>
                    </a:lnTo>
                    <a:lnTo>
                      <a:pt x="3194" y="4691"/>
                    </a:lnTo>
                    <a:cubicBezTo>
                      <a:pt x="3194" y="4802"/>
                      <a:pt x="3283" y="4891"/>
                      <a:pt x="3394" y="4891"/>
                    </a:cubicBezTo>
                    <a:lnTo>
                      <a:pt x="4430" y="4891"/>
                    </a:lnTo>
                    <a:cubicBezTo>
                      <a:pt x="4503" y="5008"/>
                      <a:pt x="4633" y="5085"/>
                      <a:pt x="4780" y="5085"/>
                    </a:cubicBezTo>
                    <a:cubicBezTo>
                      <a:pt x="5008" y="5085"/>
                      <a:pt x="5194" y="4900"/>
                      <a:pt x="5194" y="4672"/>
                    </a:cubicBezTo>
                    <a:cubicBezTo>
                      <a:pt x="5194" y="4444"/>
                      <a:pt x="5008" y="4259"/>
                      <a:pt x="4780" y="4259"/>
                    </a:cubicBezTo>
                    <a:cubicBezTo>
                      <a:pt x="4617" y="4259"/>
                      <a:pt x="4476" y="4354"/>
                      <a:pt x="4409" y="4491"/>
                    </a:cubicBezTo>
                    <a:lnTo>
                      <a:pt x="3594" y="4491"/>
                    </a:lnTo>
                    <a:lnTo>
                      <a:pt x="3594" y="3918"/>
                    </a:lnTo>
                    <a:lnTo>
                      <a:pt x="4313" y="3918"/>
                    </a:lnTo>
                    <a:close/>
                  </a:path>
                </a:pathLst>
              </a:custGeom>
              <a:solidFill>
                <a:schemeClr val="accent1"/>
              </a:solidFill>
              <a:ln w="12700">
                <a:miter lim="400000"/>
              </a:ln>
            </p:spPr>
            <p:txBody>
              <a:bodyPr lIns="19045" tIns="19045" rIns="19045" bIns="19045" anchor="ctr"/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228532" eaLnBrk="1" fontAlgn="auto" hangingPunct="1">
                  <a:spcBef>
                    <a:spcPts val="0"/>
                  </a:spcBef>
                  <a:spcAft>
                    <a:spcPts val="0"/>
                  </a:spcAft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 sz="15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endParaRPr>
              </a:p>
            </p:txBody>
          </p:sp>
        </p:grp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EC4AE7C5-4CC7-4F2E-A8DA-E16F8CC3D1AE}"/>
                </a:ext>
              </a:extLst>
            </p:cNvPr>
            <p:cNvGrpSpPr/>
            <p:nvPr/>
          </p:nvGrpSpPr>
          <p:grpSpPr>
            <a:xfrm>
              <a:off x="6096000" y="4380994"/>
              <a:ext cx="471648" cy="472390"/>
              <a:chOff x="4011823" y="1390650"/>
              <a:chExt cx="1064394" cy="1066068"/>
            </a:xfrm>
          </p:grpSpPr>
          <p:sp>
            <p:nvSpPr>
              <p:cNvPr id="32" name="椭圆 31">
                <a:extLst>
                  <a:ext uri="{FF2B5EF4-FFF2-40B4-BE49-F238E27FC236}">
                    <a16:creationId xmlns:a16="http://schemas.microsoft.com/office/drawing/2014/main" id="{1562F279-7298-412B-94F3-7EB43A8D49C8}"/>
                  </a:ext>
                </a:extLst>
              </p:cNvPr>
              <p:cNvSpPr/>
              <p:nvPr/>
            </p:nvSpPr>
            <p:spPr bwMode="auto">
              <a:xfrm>
                <a:off x="4011823" y="1390650"/>
                <a:ext cx="1064394" cy="1066068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bg2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475B4644-A02E-463B-BD02-34173BA5F4BD}"/>
                  </a:ext>
                </a:extLst>
              </p:cNvPr>
              <p:cNvSpPr/>
              <p:nvPr/>
            </p:nvSpPr>
            <p:spPr>
              <a:xfrm>
                <a:off x="4306494" y="1679956"/>
                <a:ext cx="475056" cy="487456"/>
              </a:xfrm>
              <a:custGeom>
                <a:avLst/>
                <a:gdLst>
                  <a:gd name="T0" fmla="*/ 4313 w 5734"/>
                  <a:gd name="T1" fmla="*/ 3918 h 5892"/>
                  <a:gd name="T2" fmla="*/ 5734 w 5734"/>
                  <a:gd name="T3" fmla="*/ 2497 h 5892"/>
                  <a:gd name="T4" fmla="*/ 4313 w 5734"/>
                  <a:gd name="T5" fmla="*/ 1076 h 5892"/>
                  <a:gd name="T6" fmla="*/ 4149 w 5734"/>
                  <a:gd name="T7" fmla="*/ 1085 h 5892"/>
                  <a:gd name="T8" fmla="*/ 3733 w 5734"/>
                  <a:gd name="T9" fmla="*/ 378 h 5892"/>
                  <a:gd name="T10" fmla="*/ 2768 w 5734"/>
                  <a:gd name="T11" fmla="*/ 0 h 5892"/>
                  <a:gd name="T12" fmla="*/ 1389 w 5734"/>
                  <a:gd name="T13" fmla="*/ 1076 h 5892"/>
                  <a:gd name="T14" fmla="*/ 0 w 5734"/>
                  <a:gd name="T15" fmla="*/ 2497 h 5892"/>
                  <a:gd name="T16" fmla="*/ 1421 w 5734"/>
                  <a:gd name="T17" fmla="*/ 3918 h 5892"/>
                  <a:gd name="T18" fmla="*/ 2140 w 5734"/>
                  <a:gd name="T19" fmla="*/ 3918 h 5892"/>
                  <a:gd name="T20" fmla="*/ 2140 w 5734"/>
                  <a:gd name="T21" fmla="*/ 4472 h 5892"/>
                  <a:gd name="T22" fmla="*/ 1315 w 5734"/>
                  <a:gd name="T23" fmla="*/ 4472 h 5892"/>
                  <a:gd name="T24" fmla="*/ 954 w 5734"/>
                  <a:gd name="T25" fmla="*/ 4259 h 5892"/>
                  <a:gd name="T26" fmla="*/ 540 w 5734"/>
                  <a:gd name="T27" fmla="*/ 4672 h 5892"/>
                  <a:gd name="T28" fmla="*/ 954 w 5734"/>
                  <a:gd name="T29" fmla="*/ 5086 h 5892"/>
                  <a:gd name="T30" fmla="*/ 1315 w 5734"/>
                  <a:gd name="T31" fmla="*/ 4872 h 5892"/>
                  <a:gd name="T32" fmla="*/ 2340 w 5734"/>
                  <a:gd name="T33" fmla="*/ 4872 h 5892"/>
                  <a:gd name="T34" fmla="*/ 2540 w 5734"/>
                  <a:gd name="T35" fmla="*/ 4672 h 5892"/>
                  <a:gd name="T36" fmla="*/ 2540 w 5734"/>
                  <a:gd name="T37" fmla="*/ 3918 h 5892"/>
                  <a:gd name="T38" fmla="*/ 2667 w 5734"/>
                  <a:gd name="T39" fmla="*/ 3918 h 5892"/>
                  <a:gd name="T40" fmla="*/ 2667 w 5734"/>
                  <a:gd name="T41" fmla="*/ 5117 h 5892"/>
                  <a:gd name="T42" fmla="*/ 2454 w 5734"/>
                  <a:gd name="T43" fmla="*/ 5479 h 5892"/>
                  <a:gd name="T44" fmla="*/ 2867 w 5734"/>
                  <a:gd name="T45" fmla="*/ 5892 h 5892"/>
                  <a:gd name="T46" fmla="*/ 3280 w 5734"/>
                  <a:gd name="T47" fmla="*/ 5479 h 5892"/>
                  <a:gd name="T48" fmla="*/ 3067 w 5734"/>
                  <a:gd name="T49" fmla="*/ 5117 h 5892"/>
                  <a:gd name="T50" fmla="*/ 3067 w 5734"/>
                  <a:gd name="T51" fmla="*/ 3918 h 5892"/>
                  <a:gd name="T52" fmla="*/ 3194 w 5734"/>
                  <a:gd name="T53" fmla="*/ 3918 h 5892"/>
                  <a:gd name="T54" fmla="*/ 3194 w 5734"/>
                  <a:gd name="T55" fmla="*/ 4691 h 5892"/>
                  <a:gd name="T56" fmla="*/ 3394 w 5734"/>
                  <a:gd name="T57" fmla="*/ 4891 h 5892"/>
                  <a:gd name="T58" fmla="*/ 4430 w 5734"/>
                  <a:gd name="T59" fmla="*/ 4891 h 5892"/>
                  <a:gd name="T60" fmla="*/ 4780 w 5734"/>
                  <a:gd name="T61" fmla="*/ 5085 h 5892"/>
                  <a:gd name="T62" fmla="*/ 5194 w 5734"/>
                  <a:gd name="T63" fmla="*/ 4672 h 5892"/>
                  <a:gd name="T64" fmla="*/ 4780 w 5734"/>
                  <a:gd name="T65" fmla="*/ 4259 h 5892"/>
                  <a:gd name="T66" fmla="*/ 4409 w 5734"/>
                  <a:gd name="T67" fmla="*/ 4491 h 5892"/>
                  <a:gd name="T68" fmla="*/ 3594 w 5734"/>
                  <a:gd name="T69" fmla="*/ 4491 h 5892"/>
                  <a:gd name="T70" fmla="*/ 3594 w 5734"/>
                  <a:gd name="T71" fmla="*/ 3918 h 5892"/>
                  <a:gd name="T72" fmla="*/ 4313 w 5734"/>
                  <a:gd name="T73" fmla="*/ 3918 h 58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734" h="5892">
                    <a:moveTo>
                      <a:pt x="4313" y="3918"/>
                    </a:moveTo>
                    <a:cubicBezTo>
                      <a:pt x="5096" y="3918"/>
                      <a:pt x="5734" y="3280"/>
                      <a:pt x="5734" y="2497"/>
                    </a:cubicBezTo>
                    <a:cubicBezTo>
                      <a:pt x="5734" y="1713"/>
                      <a:pt x="5096" y="1076"/>
                      <a:pt x="4313" y="1076"/>
                    </a:cubicBezTo>
                    <a:cubicBezTo>
                      <a:pt x="4258" y="1076"/>
                      <a:pt x="4203" y="1079"/>
                      <a:pt x="4149" y="1085"/>
                    </a:cubicBezTo>
                    <a:cubicBezTo>
                      <a:pt x="4084" y="816"/>
                      <a:pt x="3940" y="570"/>
                      <a:pt x="3733" y="378"/>
                    </a:cubicBezTo>
                    <a:cubicBezTo>
                      <a:pt x="3470" y="134"/>
                      <a:pt x="3127" y="0"/>
                      <a:pt x="2768" y="0"/>
                    </a:cubicBezTo>
                    <a:cubicBezTo>
                      <a:pt x="2107" y="0"/>
                      <a:pt x="1544" y="451"/>
                      <a:pt x="1389" y="1076"/>
                    </a:cubicBezTo>
                    <a:cubicBezTo>
                      <a:pt x="620" y="1093"/>
                      <a:pt x="0" y="1724"/>
                      <a:pt x="0" y="2497"/>
                    </a:cubicBezTo>
                    <a:cubicBezTo>
                      <a:pt x="0" y="3281"/>
                      <a:pt x="638" y="3918"/>
                      <a:pt x="1421" y="3918"/>
                    </a:cubicBezTo>
                    <a:lnTo>
                      <a:pt x="2140" y="3918"/>
                    </a:lnTo>
                    <a:lnTo>
                      <a:pt x="2140" y="4472"/>
                    </a:lnTo>
                    <a:lnTo>
                      <a:pt x="1315" y="4472"/>
                    </a:lnTo>
                    <a:cubicBezTo>
                      <a:pt x="1245" y="4345"/>
                      <a:pt x="1109" y="4259"/>
                      <a:pt x="954" y="4259"/>
                    </a:cubicBezTo>
                    <a:cubicBezTo>
                      <a:pt x="726" y="4259"/>
                      <a:pt x="540" y="4444"/>
                      <a:pt x="540" y="4672"/>
                    </a:cubicBezTo>
                    <a:cubicBezTo>
                      <a:pt x="540" y="4900"/>
                      <a:pt x="726" y="5086"/>
                      <a:pt x="954" y="5086"/>
                    </a:cubicBezTo>
                    <a:cubicBezTo>
                      <a:pt x="1109" y="5086"/>
                      <a:pt x="1245" y="4999"/>
                      <a:pt x="1315" y="4872"/>
                    </a:cubicBezTo>
                    <a:lnTo>
                      <a:pt x="2340" y="4872"/>
                    </a:lnTo>
                    <a:cubicBezTo>
                      <a:pt x="2451" y="4872"/>
                      <a:pt x="2540" y="4783"/>
                      <a:pt x="2540" y="4672"/>
                    </a:cubicBezTo>
                    <a:lnTo>
                      <a:pt x="2540" y="3918"/>
                    </a:lnTo>
                    <a:lnTo>
                      <a:pt x="2667" y="3918"/>
                    </a:lnTo>
                    <a:lnTo>
                      <a:pt x="2667" y="5117"/>
                    </a:lnTo>
                    <a:cubicBezTo>
                      <a:pt x="2540" y="5188"/>
                      <a:pt x="2454" y="5323"/>
                      <a:pt x="2454" y="5479"/>
                    </a:cubicBezTo>
                    <a:cubicBezTo>
                      <a:pt x="2454" y="5707"/>
                      <a:pt x="2639" y="5892"/>
                      <a:pt x="2867" y="5892"/>
                    </a:cubicBezTo>
                    <a:cubicBezTo>
                      <a:pt x="3095" y="5892"/>
                      <a:pt x="3280" y="5707"/>
                      <a:pt x="3280" y="5479"/>
                    </a:cubicBezTo>
                    <a:cubicBezTo>
                      <a:pt x="3280" y="5323"/>
                      <a:pt x="3194" y="5188"/>
                      <a:pt x="3067" y="5117"/>
                    </a:cubicBezTo>
                    <a:lnTo>
                      <a:pt x="3067" y="3918"/>
                    </a:lnTo>
                    <a:lnTo>
                      <a:pt x="3194" y="3918"/>
                    </a:lnTo>
                    <a:lnTo>
                      <a:pt x="3194" y="4691"/>
                    </a:lnTo>
                    <a:cubicBezTo>
                      <a:pt x="3194" y="4802"/>
                      <a:pt x="3283" y="4891"/>
                      <a:pt x="3394" y="4891"/>
                    </a:cubicBezTo>
                    <a:lnTo>
                      <a:pt x="4430" y="4891"/>
                    </a:lnTo>
                    <a:cubicBezTo>
                      <a:pt x="4503" y="5008"/>
                      <a:pt x="4633" y="5085"/>
                      <a:pt x="4780" y="5085"/>
                    </a:cubicBezTo>
                    <a:cubicBezTo>
                      <a:pt x="5008" y="5085"/>
                      <a:pt x="5194" y="4900"/>
                      <a:pt x="5194" y="4672"/>
                    </a:cubicBezTo>
                    <a:cubicBezTo>
                      <a:pt x="5194" y="4444"/>
                      <a:pt x="5008" y="4259"/>
                      <a:pt x="4780" y="4259"/>
                    </a:cubicBezTo>
                    <a:cubicBezTo>
                      <a:pt x="4617" y="4259"/>
                      <a:pt x="4476" y="4354"/>
                      <a:pt x="4409" y="4491"/>
                    </a:cubicBezTo>
                    <a:lnTo>
                      <a:pt x="3594" y="4491"/>
                    </a:lnTo>
                    <a:lnTo>
                      <a:pt x="3594" y="3918"/>
                    </a:lnTo>
                    <a:lnTo>
                      <a:pt x="4313" y="3918"/>
                    </a:lnTo>
                    <a:close/>
                  </a:path>
                </a:pathLst>
              </a:custGeom>
              <a:solidFill>
                <a:schemeClr val="accent1"/>
              </a:solidFill>
              <a:ln w="12700">
                <a:miter lim="400000"/>
              </a:ln>
            </p:spPr>
            <p:txBody>
              <a:bodyPr lIns="19045" tIns="19045" rIns="19045" bIns="19045" anchor="ctr"/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228532" eaLnBrk="1" fontAlgn="auto" hangingPunct="1">
                  <a:spcBef>
                    <a:spcPts val="0"/>
                  </a:spcBef>
                  <a:spcAft>
                    <a:spcPts val="0"/>
                  </a:spcAft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 sz="15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endParaRPr>
              </a:p>
            </p:txBody>
          </p: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3813B9AD-D9A6-4F78-B8A8-9729966C5950}"/>
                </a:ext>
              </a:extLst>
            </p:cNvPr>
            <p:cNvGrpSpPr/>
            <p:nvPr/>
          </p:nvGrpSpPr>
          <p:grpSpPr>
            <a:xfrm>
              <a:off x="6904955" y="2285442"/>
              <a:ext cx="471648" cy="472390"/>
              <a:chOff x="4011823" y="1390650"/>
              <a:chExt cx="1064394" cy="1066068"/>
            </a:xfrm>
          </p:grpSpPr>
          <p:sp>
            <p:nvSpPr>
              <p:cNvPr id="30" name="椭圆 29">
                <a:extLst>
                  <a:ext uri="{FF2B5EF4-FFF2-40B4-BE49-F238E27FC236}">
                    <a16:creationId xmlns:a16="http://schemas.microsoft.com/office/drawing/2014/main" id="{5196431F-A6D1-4212-BAA4-C4FBDDADD30C}"/>
                  </a:ext>
                </a:extLst>
              </p:cNvPr>
              <p:cNvSpPr/>
              <p:nvPr/>
            </p:nvSpPr>
            <p:spPr bwMode="auto">
              <a:xfrm>
                <a:off x="4011823" y="1390650"/>
                <a:ext cx="1064394" cy="1066068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bg2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620DFA83-87D9-4DEB-A7BD-010A1DDFF715}"/>
                  </a:ext>
                </a:extLst>
              </p:cNvPr>
              <p:cNvSpPr/>
              <p:nvPr/>
            </p:nvSpPr>
            <p:spPr>
              <a:xfrm>
                <a:off x="4306494" y="1679956"/>
                <a:ext cx="475056" cy="487456"/>
              </a:xfrm>
              <a:custGeom>
                <a:avLst/>
                <a:gdLst>
                  <a:gd name="T0" fmla="*/ 4313 w 5734"/>
                  <a:gd name="T1" fmla="*/ 3918 h 5892"/>
                  <a:gd name="T2" fmla="*/ 5734 w 5734"/>
                  <a:gd name="T3" fmla="*/ 2497 h 5892"/>
                  <a:gd name="T4" fmla="*/ 4313 w 5734"/>
                  <a:gd name="T5" fmla="*/ 1076 h 5892"/>
                  <a:gd name="T6" fmla="*/ 4149 w 5734"/>
                  <a:gd name="T7" fmla="*/ 1085 h 5892"/>
                  <a:gd name="T8" fmla="*/ 3733 w 5734"/>
                  <a:gd name="T9" fmla="*/ 378 h 5892"/>
                  <a:gd name="T10" fmla="*/ 2768 w 5734"/>
                  <a:gd name="T11" fmla="*/ 0 h 5892"/>
                  <a:gd name="T12" fmla="*/ 1389 w 5734"/>
                  <a:gd name="T13" fmla="*/ 1076 h 5892"/>
                  <a:gd name="T14" fmla="*/ 0 w 5734"/>
                  <a:gd name="T15" fmla="*/ 2497 h 5892"/>
                  <a:gd name="T16" fmla="*/ 1421 w 5734"/>
                  <a:gd name="T17" fmla="*/ 3918 h 5892"/>
                  <a:gd name="T18" fmla="*/ 2140 w 5734"/>
                  <a:gd name="T19" fmla="*/ 3918 h 5892"/>
                  <a:gd name="T20" fmla="*/ 2140 w 5734"/>
                  <a:gd name="T21" fmla="*/ 4472 h 5892"/>
                  <a:gd name="T22" fmla="*/ 1315 w 5734"/>
                  <a:gd name="T23" fmla="*/ 4472 h 5892"/>
                  <a:gd name="T24" fmla="*/ 954 w 5734"/>
                  <a:gd name="T25" fmla="*/ 4259 h 5892"/>
                  <a:gd name="T26" fmla="*/ 540 w 5734"/>
                  <a:gd name="T27" fmla="*/ 4672 h 5892"/>
                  <a:gd name="T28" fmla="*/ 954 w 5734"/>
                  <a:gd name="T29" fmla="*/ 5086 h 5892"/>
                  <a:gd name="T30" fmla="*/ 1315 w 5734"/>
                  <a:gd name="T31" fmla="*/ 4872 h 5892"/>
                  <a:gd name="T32" fmla="*/ 2340 w 5734"/>
                  <a:gd name="T33" fmla="*/ 4872 h 5892"/>
                  <a:gd name="T34" fmla="*/ 2540 w 5734"/>
                  <a:gd name="T35" fmla="*/ 4672 h 5892"/>
                  <a:gd name="T36" fmla="*/ 2540 w 5734"/>
                  <a:gd name="T37" fmla="*/ 3918 h 5892"/>
                  <a:gd name="T38" fmla="*/ 2667 w 5734"/>
                  <a:gd name="T39" fmla="*/ 3918 h 5892"/>
                  <a:gd name="T40" fmla="*/ 2667 w 5734"/>
                  <a:gd name="T41" fmla="*/ 5117 h 5892"/>
                  <a:gd name="T42" fmla="*/ 2454 w 5734"/>
                  <a:gd name="T43" fmla="*/ 5479 h 5892"/>
                  <a:gd name="T44" fmla="*/ 2867 w 5734"/>
                  <a:gd name="T45" fmla="*/ 5892 h 5892"/>
                  <a:gd name="T46" fmla="*/ 3280 w 5734"/>
                  <a:gd name="T47" fmla="*/ 5479 h 5892"/>
                  <a:gd name="T48" fmla="*/ 3067 w 5734"/>
                  <a:gd name="T49" fmla="*/ 5117 h 5892"/>
                  <a:gd name="T50" fmla="*/ 3067 w 5734"/>
                  <a:gd name="T51" fmla="*/ 3918 h 5892"/>
                  <a:gd name="T52" fmla="*/ 3194 w 5734"/>
                  <a:gd name="T53" fmla="*/ 3918 h 5892"/>
                  <a:gd name="T54" fmla="*/ 3194 w 5734"/>
                  <a:gd name="T55" fmla="*/ 4691 h 5892"/>
                  <a:gd name="T56" fmla="*/ 3394 w 5734"/>
                  <a:gd name="T57" fmla="*/ 4891 h 5892"/>
                  <a:gd name="T58" fmla="*/ 4430 w 5734"/>
                  <a:gd name="T59" fmla="*/ 4891 h 5892"/>
                  <a:gd name="T60" fmla="*/ 4780 w 5734"/>
                  <a:gd name="T61" fmla="*/ 5085 h 5892"/>
                  <a:gd name="T62" fmla="*/ 5194 w 5734"/>
                  <a:gd name="T63" fmla="*/ 4672 h 5892"/>
                  <a:gd name="T64" fmla="*/ 4780 w 5734"/>
                  <a:gd name="T65" fmla="*/ 4259 h 5892"/>
                  <a:gd name="T66" fmla="*/ 4409 w 5734"/>
                  <a:gd name="T67" fmla="*/ 4491 h 5892"/>
                  <a:gd name="T68" fmla="*/ 3594 w 5734"/>
                  <a:gd name="T69" fmla="*/ 4491 h 5892"/>
                  <a:gd name="T70" fmla="*/ 3594 w 5734"/>
                  <a:gd name="T71" fmla="*/ 3918 h 5892"/>
                  <a:gd name="T72" fmla="*/ 4313 w 5734"/>
                  <a:gd name="T73" fmla="*/ 3918 h 58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734" h="5892">
                    <a:moveTo>
                      <a:pt x="4313" y="3918"/>
                    </a:moveTo>
                    <a:cubicBezTo>
                      <a:pt x="5096" y="3918"/>
                      <a:pt x="5734" y="3280"/>
                      <a:pt x="5734" y="2497"/>
                    </a:cubicBezTo>
                    <a:cubicBezTo>
                      <a:pt x="5734" y="1713"/>
                      <a:pt x="5096" y="1076"/>
                      <a:pt x="4313" y="1076"/>
                    </a:cubicBezTo>
                    <a:cubicBezTo>
                      <a:pt x="4258" y="1076"/>
                      <a:pt x="4203" y="1079"/>
                      <a:pt x="4149" y="1085"/>
                    </a:cubicBezTo>
                    <a:cubicBezTo>
                      <a:pt x="4084" y="816"/>
                      <a:pt x="3940" y="570"/>
                      <a:pt x="3733" y="378"/>
                    </a:cubicBezTo>
                    <a:cubicBezTo>
                      <a:pt x="3470" y="134"/>
                      <a:pt x="3127" y="0"/>
                      <a:pt x="2768" y="0"/>
                    </a:cubicBezTo>
                    <a:cubicBezTo>
                      <a:pt x="2107" y="0"/>
                      <a:pt x="1544" y="451"/>
                      <a:pt x="1389" y="1076"/>
                    </a:cubicBezTo>
                    <a:cubicBezTo>
                      <a:pt x="620" y="1093"/>
                      <a:pt x="0" y="1724"/>
                      <a:pt x="0" y="2497"/>
                    </a:cubicBezTo>
                    <a:cubicBezTo>
                      <a:pt x="0" y="3281"/>
                      <a:pt x="638" y="3918"/>
                      <a:pt x="1421" y="3918"/>
                    </a:cubicBezTo>
                    <a:lnTo>
                      <a:pt x="2140" y="3918"/>
                    </a:lnTo>
                    <a:lnTo>
                      <a:pt x="2140" y="4472"/>
                    </a:lnTo>
                    <a:lnTo>
                      <a:pt x="1315" y="4472"/>
                    </a:lnTo>
                    <a:cubicBezTo>
                      <a:pt x="1245" y="4345"/>
                      <a:pt x="1109" y="4259"/>
                      <a:pt x="954" y="4259"/>
                    </a:cubicBezTo>
                    <a:cubicBezTo>
                      <a:pt x="726" y="4259"/>
                      <a:pt x="540" y="4444"/>
                      <a:pt x="540" y="4672"/>
                    </a:cubicBezTo>
                    <a:cubicBezTo>
                      <a:pt x="540" y="4900"/>
                      <a:pt x="726" y="5086"/>
                      <a:pt x="954" y="5086"/>
                    </a:cubicBezTo>
                    <a:cubicBezTo>
                      <a:pt x="1109" y="5086"/>
                      <a:pt x="1245" y="4999"/>
                      <a:pt x="1315" y="4872"/>
                    </a:cubicBezTo>
                    <a:lnTo>
                      <a:pt x="2340" y="4872"/>
                    </a:lnTo>
                    <a:cubicBezTo>
                      <a:pt x="2451" y="4872"/>
                      <a:pt x="2540" y="4783"/>
                      <a:pt x="2540" y="4672"/>
                    </a:cubicBezTo>
                    <a:lnTo>
                      <a:pt x="2540" y="3918"/>
                    </a:lnTo>
                    <a:lnTo>
                      <a:pt x="2667" y="3918"/>
                    </a:lnTo>
                    <a:lnTo>
                      <a:pt x="2667" y="5117"/>
                    </a:lnTo>
                    <a:cubicBezTo>
                      <a:pt x="2540" y="5188"/>
                      <a:pt x="2454" y="5323"/>
                      <a:pt x="2454" y="5479"/>
                    </a:cubicBezTo>
                    <a:cubicBezTo>
                      <a:pt x="2454" y="5707"/>
                      <a:pt x="2639" y="5892"/>
                      <a:pt x="2867" y="5892"/>
                    </a:cubicBezTo>
                    <a:cubicBezTo>
                      <a:pt x="3095" y="5892"/>
                      <a:pt x="3280" y="5707"/>
                      <a:pt x="3280" y="5479"/>
                    </a:cubicBezTo>
                    <a:cubicBezTo>
                      <a:pt x="3280" y="5323"/>
                      <a:pt x="3194" y="5188"/>
                      <a:pt x="3067" y="5117"/>
                    </a:cubicBezTo>
                    <a:lnTo>
                      <a:pt x="3067" y="3918"/>
                    </a:lnTo>
                    <a:lnTo>
                      <a:pt x="3194" y="3918"/>
                    </a:lnTo>
                    <a:lnTo>
                      <a:pt x="3194" y="4691"/>
                    </a:lnTo>
                    <a:cubicBezTo>
                      <a:pt x="3194" y="4802"/>
                      <a:pt x="3283" y="4891"/>
                      <a:pt x="3394" y="4891"/>
                    </a:cubicBezTo>
                    <a:lnTo>
                      <a:pt x="4430" y="4891"/>
                    </a:lnTo>
                    <a:cubicBezTo>
                      <a:pt x="4503" y="5008"/>
                      <a:pt x="4633" y="5085"/>
                      <a:pt x="4780" y="5085"/>
                    </a:cubicBezTo>
                    <a:cubicBezTo>
                      <a:pt x="5008" y="5085"/>
                      <a:pt x="5194" y="4900"/>
                      <a:pt x="5194" y="4672"/>
                    </a:cubicBezTo>
                    <a:cubicBezTo>
                      <a:pt x="5194" y="4444"/>
                      <a:pt x="5008" y="4259"/>
                      <a:pt x="4780" y="4259"/>
                    </a:cubicBezTo>
                    <a:cubicBezTo>
                      <a:pt x="4617" y="4259"/>
                      <a:pt x="4476" y="4354"/>
                      <a:pt x="4409" y="4491"/>
                    </a:cubicBezTo>
                    <a:lnTo>
                      <a:pt x="3594" y="4491"/>
                    </a:lnTo>
                    <a:lnTo>
                      <a:pt x="3594" y="3918"/>
                    </a:lnTo>
                    <a:lnTo>
                      <a:pt x="4313" y="3918"/>
                    </a:lnTo>
                    <a:close/>
                  </a:path>
                </a:pathLst>
              </a:custGeom>
              <a:solidFill>
                <a:schemeClr val="accent1"/>
              </a:solidFill>
              <a:ln w="12700">
                <a:miter lim="400000"/>
              </a:ln>
            </p:spPr>
            <p:txBody>
              <a:bodyPr lIns="19045" tIns="19045" rIns="19045" bIns="19045" anchor="ctr"/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228532" eaLnBrk="1" fontAlgn="auto" hangingPunct="1">
                  <a:spcBef>
                    <a:spcPts val="0"/>
                  </a:spcBef>
                  <a:spcAft>
                    <a:spcPts val="0"/>
                  </a:spcAft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 sz="15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endParaRPr>
              </a:p>
            </p:txBody>
          </p:sp>
        </p:grp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56CF2F89-9714-4C5F-AD6D-CF5B6786DDBE}"/>
                </a:ext>
              </a:extLst>
            </p:cNvPr>
            <p:cNvSpPr/>
            <p:nvPr/>
          </p:nvSpPr>
          <p:spPr bwMode="auto">
            <a:xfrm>
              <a:off x="4421522" y="3201487"/>
              <a:ext cx="906344" cy="735852"/>
            </a:xfrm>
            <a:custGeom>
              <a:avLst/>
              <a:gdLst>
                <a:gd name="T0" fmla="*/ 331 w 412"/>
                <a:gd name="T1" fmla="*/ 20 h 335"/>
                <a:gd name="T2" fmla="*/ 330 w 412"/>
                <a:gd name="T3" fmla="*/ 0 h 335"/>
                <a:gd name="T4" fmla="*/ 207 w 412"/>
                <a:gd name="T5" fmla="*/ 0 h 335"/>
                <a:gd name="T6" fmla="*/ 207 w 412"/>
                <a:gd name="T7" fmla="*/ 0 h 335"/>
                <a:gd name="T8" fmla="*/ 206 w 412"/>
                <a:gd name="T9" fmla="*/ 0 h 335"/>
                <a:gd name="T10" fmla="*/ 206 w 412"/>
                <a:gd name="T11" fmla="*/ 0 h 335"/>
                <a:gd name="T12" fmla="*/ 206 w 412"/>
                <a:gd name="T13" fmla="*/ 0 h 335"/>
                <a:gd name="T14" fmla="*/ 82 w 412"/>
                <a:gd name="T15" fmla="*/ 0 h 335"/>
                <a:gd name="T16" fmla="*/ 82 w 412"/>
                <a:gd name="T17" fmla="*/ 20 h 335"/>
                <a:gd name="T18" fmla="*/ 0 w 412"/>
                <a:gd name="T19" fmla="*/ 20 h 335"/>
                <a:gd name="T20" fmla="*/ 0 w 412"/>
                <a:gd name="T21" fmla="*/ 34 h 335"/>
                <a:gd name="T22" fmla="*/ 45 w 412"/>
                <a:gd name="T23" fmla="*/ 149 h 335"/>
                <a:gd name="T24" fmla="*/ 115 w 412"/>
                <a:gd name="T25" fmla="*/ 174 h 335"/>
                <a:gd name="T26" fmla="*/ 128 w 412"/>
                <a:gd name="T27" fmla="*/ 174 h 335"/>
                <a:gd name="T28" fmla="*/ 182 w 412"/>
                <a:gd name="T29" fmla="*/ 218 h 335"/>
                <a:gd name="T30" fmla="*/ 182 w 412"/>
                <a:gd name="T31" fmla="*/ 277 h 335"/>
                <a:gd name="T32" fmla="*/ 122 w 412"/>
                <a:gd name="T33" fmla="*/ 277 h 335"/>
                <a:gd name="T34" fmla="*/ 122 w 412"/>
                <a:gd name="T35" fmla="*/ 314 h 335"/>
                <a:gd name="T36" fmla="*/ 102 w 412"/>
                <a:gd name="T37" fmla="*/ 314 h 335"/>
                <a:gd name="T38" fmla="*/ 102 w 412"/>
                <a:gd name="T39" fmla="*/ 335 h 335"/>
                <a:gd name="T40" fmla="*/ 206 w 412"/>
                <a:gd name="T41" fmla="*/ 335 h 335"/>
                <a:gd name="T42" fmla="*/ 207 w 412"/>
                <a:gd name="T43" fmla="*/ 335 h 335"/>
                <a:gd name="T44" fmla="*/ 310 w 412"/>
                <a:gd name="T45" fmla="*/ 335 h 335"/>
                <a:gd name="T46" fmla="*/ 310 w 412"/>
                <a:gd name="T47" fmla="*/ 314 h 335"/>
                <a:gd name="T48" fmla="*/ 290 w 412"/>
                <a:gd name="T49" fmla="*/ 314 h 335"/>
                <a:gd name="T50" fmla="*/ 290 w 412"/>
                <a:gd name="T51" fmla="*/ 277 h 335"/>
                <a:gd name="T52" fmla="*/ 231 w 412"/>
                <a:gd name="T53" fmla="*/ 277 h 335"/>
                <a:gd name="T54" fmla="*/ 231 w 412"/>
                <a:gd name="T55" fmla="*/ 218 h 335"/>
                <a:gd name="T56" fmla="*/ 285 w 412"/>
                <a:gd name="T57" fmla="*/ 174 h 335"/>
                <a:gd name="T58" fmla="*/ 297 w 412"/>
                <a:gd name="T59" fmla="*/ 174 h 335"/>
                <a:gd name="T60" fmla="*/ 367 w 412"/>
                <a:gd name="T61" fmla="*/ 149 h 335"/>
                <a:gd name="T62" fmla="*/ 412 w 412"/>
                <a:gd name="T63" fmla="*/ 34 h 335"/>
                <a:gd name="T64" fmla="*/ 412 w 412"/>
                <a:gd name="T65" fmla="*/ 20 h 335"/>
                <a:gd name="T66" fmla="*/ 331 w 412"/>
                <a:gd name="T67" fmla="*/ 20 h 335"/>
                <a:gd name="T68" fmla="*/ 63 w 412"/>
                <a:gd name="T69" fmla="*/ 129 h 335"/>
                <a:gd name="T70" fmla="*/ 28 w 412"/>
                <a:gd name="T71" fmla="*/ 47 h 335"/>
                <a:gd name="T72" fmla="*/ 83 w 412"/>
                <a:gd name="T73" fmla="*/ 47 h 335"/>
                <a:gd name="T74" fmla="*/ 104 w 412"/>
                <a:gd name="T75" fmla="*/ 132 h 335"/>
                <a:gd name="T76" fmla="*/ 111 w 412"/>
                <a:gd name="T77" fmla="*/ 147 h 335"/>
                <a:gd name="T78" fmla="*/ 63 w 412"/>
                <a:gd name="T79" fmla="*/ 129 h 335"/>
                <a:gd name="T80" fmla="*/ 349 w 412"/>
                <a:gd name="T81" fmla="*/ 129 h 335"/>
                <a:gd name="T82" fmla="*/ 301 w 412"/>
                <a:gd name="T83" fmla="*/ 147 h 335"/>
                <a:gd name="T84" fmla="*/ 308 w 412"/>
                <a:gd name="T85" fmla="*/ 132 h 335"/>
                <a:gd name="T86" fmla="*/ 329 w 412"/>
                <a:gd name="T87" fmla="*/ 47 h 335"/>
                <a:gd name="T88" fmla="*/ 384 w 412"/>
                <a:gd name="T89" fmla="*/ 47 h 335"/>
                <a:gd name="T90" fmla="*/ 349 w 412"/>
                <a:gd name="T91" fmla="*/ 129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12" h="335">
                  <a:moveTo>
                    <a:pt x="331" y="20"/>
                  </a:moveTo>
                  <a:cubicBezTo>
                    <a:pt x="331" y="8"/>
                    <a:pt x="330" y="0"/>
                    <a:pt x="330" y="0"/>
                  </a:cubicBezTo>
                  <a:lnTo>
                    <a:pt x="207" y="0"/>
                  </a:lnTo>
                  <a:lnTo>
                    <a:pt x="207" y="0"/>
                  </a:lnTo>
                  <a:lnTo>
                    <a:pt x="206" y="0"/>
                  </a:lnTo>
                  <a:lnTo>
                    <a:pt x="206" y="0"/>
                  </a:lnTo>
                  <a:lnTo>
                    <a:pt x="206" y="0"/>
                  </a:lnTo>
                  <a:lnTo>
                    <a:pt x="82" y="0"/>
                  </a:lnTo>
                  <a:cubicBezTo>
                    <a:pt x="82" y="0"/>
                    <a:pt x="82" y="8"/>
                    <a:pt x="82" y="20"/>
                  </a:cubicBezTo>
                  <a:lnTo>
                    <a:pt x="0" y="20"/>
                  </a:lnTo>
                  <a:lnTo>
                    <a:pt x="0" y="34"/>
                  </a:lnTo>
                  <a:cubicBezTo>
                    <a:pt x="0" y="37"/>
                    <a:pt x="1" y="110"/>
                    <a:pt x="45" y="149"/>
                  </a:cubicBezTo>
                  <a:cubicBezTo>
                    <a:pt x="64" y="166"/>
                    <a:pt x="87" y="174"/>
                    <a:pt x="115" y="174"/>
                  </a:cubicBezTo>
                  <a:cubicBezTo>
                    <a:pt x="119" y="174"/>
                    <a:pt x="123" y="174"/>
                    <a:pt x="128" y="174"/>
                  </a:cubicBezTo>
                  <a:cubicBezTo>
                    <a:pt x="143" y="195"/>
                    <a:pt x="161" y="210"/>
                    <a:pt x="182" y="218"/>
                  </a:cubicBezTo>
                  <a:lnTo>
                    <a:pt x="182" y="277"/>
                  </a:lnTo>
                  <a:lnTo>
                    <a:pt x="122" y="277"/>
                  </a:lnTo>
                  <a:lnTo>
                    <a:pt x="122" y="314"/>
                  </a:lnTo>
                  <a:lnTo>
                    <a:pt x="102" y="314"/>
                  </a:lnTo>
                  <a:lnTo>
                    <a:pt x="102" y="335"/>
                  </a:lnTo>
                  <a:lnTo>
                    <a:pt x="206" y="335"/>
                  </a:lnTo>
                  <a:lnTo>
                    <a:pt x="207" y="335"/>
                  </a:lnTo>
                  <a:lnTo>
                    <a:pt x="310" y="335"/>
                  </a:lnTo>
                  <a:lnTo>
                    <a:pt x="310" y="314"/>
                  </a:lnTo>
                  <a:lnTo>
                    <a:pt x="290" y="314"/>
                  </a:lnTo>
                  <a:lnTo>
                    <a:pt x="290" y="277"/>
                  </a:lnTo>
                  <a:lnTo>
                    <a:pt x="231" y="277"/>
                  </a:lnTo>
                  <a:lnTo>
                    <a:pt x="231" y="218"/>
                  </a:lnTo>
                  <a:cubicBezTo>
                    <a:pt x="251" y="210"/>
                    <a:pt x="269" y="195"/>
                    <a:pt x="285" y="174"/>
                  </a:cubicBezTo>
                  <a:cubicBezTo>
                    <a:pt x="289" y="174"/>
                    <a:pt x="293" y="174"/>
                    <a:pt x="297" y="174"/>
                  </a:cubicBezTo>
                  <a:cubicBezTo>
                    <a:pt x="325" y="174"/>
                    <a:pt x="348" y="166"/>
                    <a:pt x="367" y="149"/>
                  </a:cubicBezTo>
                  <a:cubicBezTo>
                    <a:pt x="412" y="110"/>
                    <a:pt x="412" y="37"/>
                    <a:pt x="412" y="34"/>
                  </a:cubicBezTo>
                  <a:lnTo>
                    <a:pt x="412" y="20"/>
                  </a:lnTo>
                  <a:lnTo>
                    <a:pt x="331" y="20"/>
                  </a:lnTo>
                  <a:close/>
                  <a:moveTo>
                    <a:pt x="63" y="129"/>
                  </a:moveTo>
                  <a:cubicBezTo>
                    <a:pt x="38" y="107"/>
                    <a:pt x="30" y="68"/>
                    <a:pt x="28" y="47"/>
                  </a:cubicBezTo>
                  <a:lnTo>
                    <a:pt x="83" y="47"/>
                  </a:lnTo>
                  <a:cubicBezTo>
                    <a:pt x="86" y="73"/>
                    <a:pt x="91" y="105"/>
                    <a:pt x="104" y="132"/>
                  </a:cubicBezTo>
                  <a:cubicBezTo>
                    <a:pt x="106" y="138"/>
                    <a:pt x="109" y="142"/>
                    <a:pt x="111" y="147"/>
                  </a:cubicBezTo>
                  <a:cubicBezTo>
                    <a:pt x="92" y="146"/>
                    <a:pt x="76" y="140"/>
                    <a:pt x="63" y="129"/>
                  </a:cubicBezTo>
                  <a:close/>
                  <a:moveTo>
                    <a:pt x="349" y="129"/>
                  </a:moveTo>
                  <a:cubicBezTo>
                    <a:pt x="336" y="141"/>
                    <a:pt x="320" y="146"/>
                    <a:pt x="301" y="147"/>
                  </a:cubicBezTo>
                  <a:cubicBezTo>
                    <a:pt x="304" y="142"/>
                    <a:pt x="306" y="138"/>
                    <a:pt x="308" y="132"/>
                  </a:cubicBezTo>
                  <a:cubicBezTo>
                    <a:pt x="321" y="105"/>
                    <a:pt x="327" y="73"/>
                    <a:pt x="329" y="47"/>
                  </a:cubicBezTo>
                  <a:lnTo>
                    <a:pt x="384" y="47"/>
                  </a:lnTo>
                  <a:cubicBezTo>
                    <a:pt x="382" y="68"/>
                    <a:pt x="375" y="107"/>
                    <a:pt x="349" y="12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9C78AD5D-9DE4-4F59-81F3-7D76256E7CF5}"/>
                </a:ext>
              </a:extLst>
            </p:cNvPr>
            <p:cNvSpPr txBox="1"/>
            <p:nvPr/>
          </p:nvSpPr>
          <p:spPr bwMode="auto">
            <a:xfrm>
              <a:off x="670299" y="2987194"/>
              <a:ext cx="2929738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 defTabSz="913765">
                <a:spcBef>
                  <a:spcPct val="0"/>
                </a:spcBef>
                <a:defRPr/>
              </a:pPr>
              <a:r>
                <a:rPr lang="en-US" altLang="zh-CN" sz="2000" b="1" dirty="0">
                  <a:solidFill>
                    <a:srgbClr val="000000"/>
                  </a:solidFill>
                </a:rPr>
                <a:t>…</a:t>
              </a:r>
              <a:r>
                <a:rPr lang="zh-CN" altLang="en-US" sz="2000" b="1" dirty="0">
                  <a:solidFill>
                    <a:srgbClr val="000000"/>
                  </a:solidFill>
                </a:rPr>
                <a:t>阶段</a:t>
              </a:r>
              <a:endParaRPr lang="en-US" altLang="zh-CN" sz="2000" b="1" dirty="0">
                <a:solidFill>
                  <a:srgbClr val="000000"/>
                </a:solidFill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3D0EA110-3845-4A30-AF10-C21F414EB24E}"/>
                </a:ext>
              </a:extLst>
            </p:cNvPr>
            <p:cNvSpPr/>
            <p:nvPr/>
          </p:nvSpPr>
          <p:spPr bwMode="auto">
            <a:xfrm>
              <a:off x="670299" y="3429000"/>
              <a:ext cx="2929738" cy="1061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82B1F2D9-8282-4C4B-A135-A8420913185C}"/>
                </a:ext>
              </a:extLst>
            </p:cNvPr>
            <p:cNvSpPr txBox="1"/>
            <p:nvPr/>
          </p:nvSpPr>
          <p:spPr bwMode="auto">
            <a:xfrm>
              <a:off x="8540363" y="2987194"/>
              <a:ext cx="2986926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 algn="r" defTabSz="913765">
                <a:spcBef>
                  <a:spcPct val="0"/>
                </a:spcBef>
                <a:defRPr/>
              </a:pPr>
              <a:r>
                <a:rPr lang="en-US" altLang="zh-CN" sz="2000" b="1" dirty="0">
                  <a:solidFill>
                    <a:srgbClr val="000000"/>
                  </a:solidFill>
                </a:rPr>
                <a:t>…</a:t>
              </a:r>
              <a:r>
                <a:rPr lang="zh-CN" altLang="en-US" sz="2000" b="1" dirty="0">
                  <a:solidFill>
                    <a:srgbClr val="000000"/>
                  </a:solidFill>
                </a:rPr>
                <a:t>阶段</a:t>
              </a:r>
              <a:endParaRPr lang="en-US" altLang="zh-CN" sz="2000" b="1" dirty="0">
                <a:solidFill>
                  <a:srgbClr val="000000"/>
                </a:solidFill>
              </a:endParaRPr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1488B1D3-95BB-4FA5-B564-C6135A51FCE7}"/>
                </a:ext>
              </a:extLst>
            </p:cNvPr>
            <p:cNvSpPr/>
            <p:nvPr/>
          </p:nvSpPr>
          <p:spPr bwMode="auto">
            <a:xfrm>
              <a:off x="8540363" y="3429000"/>
              <a:ext cx="2986926" cy="1061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A954C47F-6CD3-411E-B602-BFAEC26966E2}"/>
                </a:ext>
              </a:extLst>
            </p:cNvPr>
            <p:cNvGrpSpPr/>
            <p:nvPr/>
          </p:nvGrpSpPr>
          <p:grpSpPr>
            <a:xfrm>
              <a:off x="3302082" y="1237897"/>
              <a:ext cx="2191516" cy="1104745"/>
              <a:chOff x="666932" y="4425289"/>
              <a:chExt cx="1112098" cy="1104745"/>
            </a:xfrm>
          </p:grpSpPr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241162A0-C5D5-4FC7-8704-ECB1D7F26F4B}"/>
                  </a:ext>
                </a:extLst>
              </p:cNvPr>
              <p:cNvSpPr txBox="1"/>
              <p:nvPr/>
            </p:nvSpPr>
            <p:spPr bwMode="auto">
              <a:xfrm>
                <a:off x="666932" y="4425289"/>
                <a:ext cx="1112098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defTabSz="913765">
                  <a:spcBef>
                    <a:spcPct val="0"/>
                  </a:spcBef>
                  <a:defRPr/>
                </a:pPr>
                <a:r>
                  <a:rPr lang="en-US" altLang="zh-CN" sz="2000" b="1" dirty="0">
                    <a:solidFill>
                      <a:srgbClr val="000000"/>
                    </a:solidFill>
                  </a:rPr>
                  <a:t>…</a:t>
                </a:r>
                <a:r>
                  <a:rPr lang="zh-CN" altLang="en-US" sz="2000" b="1" dirty="0">
                    <a:solidFill>
                      <a:srgbClr val="000000"/>
                    </a:solidFill>
                  </a:rPr>
                  <a:t>阶段</a:t>
                </a:r>
                <a:endParaRPr lang="en-US" altLang="zh-CN" sz="20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DA62C685-6D41-4F33-9CA5-1D24B683718A}"/>
                  </a:ext>
                </a:extLst>
              </p:cNvPr>
              <p:cNvSpPr/>
              <p:nvPr/>
            </p:nvSpPr>
            <p:spPr bwMode="auto">
              <a:xfrm>
                <a:off x="666932" y="4867096"/>
                <a:ext cx="1112098" cy="6629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Supporting text here. 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22" name="组合 21">
              <a:extLst>
                <a:ext uri="{FF2B5EF4-FFF2-40B4-BE49-F238E27FC236}">
                  <a16:creationId xmlns:a16="http://schemas.microsoft.com/office/drawing/2014/main" id="{D9FD5C00-6D91-4B32-821A-389310B4E996}"/>
                </a:ext>
              </a:extLst>
            </p:cNvPr>
            <p:cNvGrpSpPr/>
            <p:nvPr/>
          </p:nvGrpSpPr>
          <p:grpSpPr>
            <a:xfrm>
              <a:off x="7322570" y="1237897"/>
              <a:ext cx="2191516" cy="1104745"/>
              <a:chOff x="666932" y="4425289"/>
              <a:chExt cx="1112098" cy="1104745"/>
            </a:xfrm>
          </p:grpSpPr>
          <p:sp>
            <p:nvSpPr>
              <p:cNvPr id="26" name="文本框 25">
                <a:extLst>
                  <a:ext uri="{FF2B5EF4-FFF2-40B4-BE49-F238E27FC236}">
                    <a16:creationId xmlns:a16="http://schemas.microsoft.com/office/drawing/2014/main" id="{27CEA583-F57B-4393-8260-C86E88F8CEF7}"/>
                  </a:ext>
                </a:extLst>
              </p:cNvPr>
              <p:cNvSpPr txBox="1"/>
              <p:nvPr/>
            </p:nvSpPr>
            <p:spPr bwMode="auto">
              <a:xfrm>
                <a:off x="666932" y="4425289"/>
                <a:ext cx="1112098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defTabSz="913765">
                  <a:spcBef>
                    <a:spcPct val="0"/>
                  </a:spcBef>
                  <a:defRPr/>
                </a:pPr>
                <a:r>
                  <a:rPr lang="en-US" altLang="zh-CN" sz="2000" b="1" dirty="0">
                    <a:solidFill>
                      <a:srgbClr val="000000"/>
                    </a:solidFill>
                  </a:rPr>
                  <a:t>…</a:t>
                </a:r>
                <a:r>
                  <a:rPr lang="zh-CN" altLang="en-US" sz="2000" b="1" dirty="0">
                    <a:solidFill>
                      <a:srgbClr val="000000"/>
                    </a:solidFill>
                  </a:rPr>
                  <a:t>阶段</a:t>
                </a:r>
                <a:endParaRPr lang="en-US" altLang="zh-CN" sz="20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F9C8139C-0D19-4623-83AA-F8A49AB33F73}"/>
                  </a:ext>
                </a:extLst>
              </p:cNvPr>
              <p:cNvSpPr/>
              <p:nvPr/>
            </p:nvSpPr>
            <p:spPr bwMode="auto">
              <a:xfrm>
                <a:off x="666932" y="4867096"/>
                <a:ext cx="1112098" cy="6629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Supporting text here. 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8CB36F59-A923-4355-B658-36A6D66F6270}"/>
                </a:ext>
              </a:extLst>
            </p:cNvPr>
            <p:cNvGrpSpPr/>
            <p:nvPr/>
          </p:nvGrpSpPr>
          <p:grpSpPr>
            <a:xfrm>
              <a:off x="6206573" y="5019480"/>
              <a:ext cx="2191516" cy="1104745"/>
              <a:chOff x="666932" y="4425289"/>
              <a:chExt cx="1112098" cy="1104745"/>
            </a:xfrm>
          </p:grpSpPr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2D2AFF14-59F3-4251-A9B8-0D935FF7BFF2}"/>
                  </a:ext>
                </a:extLst>
              </p:cNvPr>
              <p:cNvSpPr txBox="1"/>
              <p:nvPr/>
            </p:nvSpPr>
            <p:spPr bwMode="auto">
              <a:xfrm>
                <a:off x="666932" y="4425289"/>
                <a:ext cx="1112098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defTabSz="913765">
                  <a:spcBef>
                    <a:spcPct val="0"/>
                  </a:spcBef>
                  <a:defRPr/>
                </a:pPr>
                <a:r>
                  <a:rPr lang="en-US" altLang="zh-CN" sz="2000" b="1" dirty="0">
                    <a:solidFill>
                      <a:srgbClr val="000000"/>
                    </a:solidFill>
                  </a:rPr>
                  <a:t>…</a:t>
                </a:r>
                <a:r>
                  <a:rPr lang="zh-CN" altLang="en-US" sz="2000" b="1" dirty="0">
                    <a:solidFill>
                      <a:srgbClr val="000000"/>
                    </a:solidFill>
                  </a:rPr>
                  <a:t>阶段</a:t>
                </a:r>
                <a:endParaRPr lang="en-US" altLang="zh-CN" sz="20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C4CE2F6A-EDE0-4500-85BF-E38ED849E38E}"/>
                  </a:ext>
                </a:extLst>
              </p:cNvPr>
              <p:cNvSpPr/>
              <p:nvPr/>
            </p:nvSpPr>
            <p:spPr bwMode="auto">
              <a:xfrm>
                <a:off x="666932" y="4867096"/>
                <a:ext cx="1112098" cy="6629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Supporting text here. 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714180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5A56F34-943B-4203-B6C6-2FF6C3A5B7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完成比例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B63A2D2-E6C5-4CE4-A15B-9264951B87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 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3FFCBCB-07DC-4797-82F6-3E2F323BDE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DEBE549-46A2-4C6A-A3A7-652EC8246505}"/>
              </a:ext>
            </a:extLst>
          </p:cNvPr>
          <p:cNvGrpSpPr>
            <a:grpSpLocks noChangeAspect="1"/>
          </p:cNvGrpSpPr>
          <p:nvPr/>
        </p:nvGrpSpPr>
        <p:grpSpPr>
          <a:xfrm>
            <a:off x="680800" y="1449000"/>
            <a:ext cx="10839689" cy="4306352"/>
            <a:chOff x="680800" y="1449000"/>
            <a:chExt cx="10839689" cy="4306352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20B12C04-1A8A-46E4-9155-DC6DE03CA0AA}"/>
                </a:ext>
              </a:extLst>
            </p:cNvPr>
            <p:cNvGrpSpPr/>
            <p:nvPr/>
          </p:nvGrpSpPr>
          <p:grpSpPr>
            <a:xfrm>
              <a:off x="3705225" y="1449000"/>
              <a:ext cx="4781550" cy="4141912"/>
              <a:chOff x="3705226" y="1449000"/>
              <a:chExt cx="4781550" cy="4141912"/>
            </a:xfrm>
          </p:grpSpPr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D5BF9093-0E3E-4627-BECA-B02C2CACA0B7}"/>
                  </a:ext>
                </a:extLst>
              </p:cNvPr>
              <p:cNvSpPr/>
              <p:nvPr/>
            </p:nvSpPr>
            <p:spPr bwMode="auto">
              <a:xfrm>
                <a:off x="5388208" y="1449000"/>
                <a:ext cx="1399863" cy="1216359"/>
              </a:xfrm>
              <a:custGeom>
                <a:avLst/>
                <a:gdLst>
                  <a:gd name="T0" fmla="*/ 0 w 267"/>
                  <a:gd name="T1" fmla="*/ 232 h 232"/>
                  <a:gd name="T2" fmla="*/ 135 w 267"/>
                  <a:gd name="T3" fmla="*/ 0 h 232"/>
                  <a:gd name="T4" fmla="*/ 267 w 267"/>
                  <a:gd name="T5" fmla="*/ 232 h 232"/>
                  <a:gd name="T6" fmla="*/ 0 w 267"/>
                  <a:gd name="T7" fmla="*/ 232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7" h="232">
                    <a:moveTo>
                      <a:pt x="0" y="232"/>
                    </a:moveTo>
                    <a:lnTo>
                      <a:pt x="135" y="0"/>
                    </a:lnTo>
                    <a:lnTo>
                      <a:pt x="267" y="232"/>
                    </a:lnTo>
                    <a:lnTo>
                      <a:pt x="0" y="232"/>
                    </a:lnTo>
                    <a:close/>
                  </a:path>
                </a:pathLst>
              </a:custGeom>
              <a:solidFill>
                <a:schemeClr val="accent1"/>
              </a:solidFill>
              <a:ln w="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none" lIns="91440" tIns="45720" rIns="91440" bIns="45720" numCol="1" anchor="b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r>
                  <a:rPr lang="en-US" altLang="zh-CN" dirty="0">
                    <a:solidFill>
                      <a:schemeClr val="bg1"/>
                    </a:solidFill>
                  </a:rPr>
                  <a:t>Text</a:t>
                </a:r>
                <a:endParaRPr lang="zh-CN" alt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913CA535-E8D0-4853-8A1C-F021EE4528FF}"/>
                  </a:ext>
                </a:extLst>
              </p:cNvPr>
              <p:cNvSpPr/>
              <p:nvPr/>
            </p:nvSpPr>
            <p:spPr bwMode="auto">
              <a:xfrm>
                <a:off x="4905857" y="2922265"/>
                <a:ext cx="2364562" cy="571480"/>
              </a:xfrm>
              <a:custGeom>
                <a:avLst/>
                <a:gdLst>
                  <a:gd name="T0" fmla="*/ 0 w 451"/>
                  <a:gd name="T1" fmla="*/ 109 h 109"/>
                  <a:gd name="T2" fmla="*/ 64 w 451"/>
                  <a:gd name="T3" fmla="*/ 0 h 109"/>
                  <a:gd name="T4" fmla="*/ 387 w 451"/>
                  <a:gd name="T5" fmla="*/ 0 h 109"/>
                  <a:gd name="T6" fmla="*/ 451 w 451"/>
                  <a:gd name="T7" fmla="*/ 109 h 109"/>
                  <a:gd name="T8" fmla="*/ 0 w 451"/>
                  <a:gd name="T9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1" h="109">
                    <a:moveTo>
                      <a:pt x="0" y="109"/>
                    </a:moveTo>
                    <a:lnTo>
                      <a:pt x="64" y="0"/>
                    </a:lnTo>
                    <a:lnTo>
                      <a:pt x="387" y="0"/>
                    </a:lnTo>
                    <a:lnTo>
                      <a:pt x="451" y="109"/>
                    </a:lnTo>
                    <a:lnTo>
                      <a:pt x="0" y="109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non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r>
                  <a:rPr lang="en-US" altLang="zh-CN" dirty="0">
                    <a:solidFill>
                      <a:schemeClr val="bg1"/>
                    </a:solidFill>
                  </a:rPr>
                  <a:t>Text here</a:t>
                </a:r>
                <a:endParaRPr lang="zh-CN" alt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702B76CE-D0F2-4C5B-98FB-61B0EED197B0}"/>
                  </a:ext>
                </a:extLst>
              </p:cNvPr>
              <p:cNvSpPr/>
              <p:nvPr/>
            </p:nvSpPr>
            <p:spPr bwMode="auto">
              <a:xfrm>
                <a:off x="4433995" y="3755887"/>
                <a:ext cx="3318774" cy="566237"/>
              </a:xfrm>
              <a:custGeom>
                <a:avLst/>
                <a:gdLst>
                  <a:gd name="T0" fmla="*/ 0 w 633"/>
                  <a:gd name="T1" fmla="*/ 108 h 108"/>
                  <a:gd name="T2" fmla="*/ 62 w 633"/>
                  <a:gd name="T3" fmla="*/ 0 h 108"/>
                  <a:gd name="T4" fmla="*/ 570 w 633"/>
                  <a:gd name="T5" fmla="*/ 0 h 108"/>
                  <a:gd name="T6" fmla="*/ 633 w 633"/>
                  <a:gd name="T7" fmla="*/ 108 h 108"/>
                  <a:gd name="T8" fmla="*/ 0 w 633"/>
                  <a:gd name="T9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3" h="108">
                    <a:moveTo>
                      <a:pt x="0" y="108"/>
                    </a:moveTo>
                    <a:lnTo>
                      <a:pt x="62" y="0"/>
                    </a:lnTo>
                    <a:lnTo>
                      <a:pt x="570" y="0"/>
                    </a:lnTo>
                    <a:lnTo>
                      <a:pt x="633" y="108"/>
                    </a:lnTo>
                    <a:lnTo>
                      <a:pt x="0" y="108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non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r>
                  <a:rPr lang="en-US" altLang="zh-CN" dirty="0">
                    <a:solidFill>
                      <a:schemeClr val="bg1"/>
                    </a:solidFill>
                  </a:rPr>
                  <a:t>Text here</a:t>
                </a:r>
                <a:endParaRPr lang="zh-CN" alt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D9D2B8D8-6A8E-41F1-9368-32F8D4F62553}"/>
                  </a:ext>
                </a:extLst>
              </p:cNvPr>
              <p:cNvSpPr/>
              <p:nvPr/>
            </p:nvSpPr>
            <p:spPr bwMode="auto">
              <a:xfrm>
                <a:off x="3705226" y="4584270"/>
                <a:ext cx="4781550" cy="1006642"/>
              </a:xfrm>
              <a:custGeom>
                <a:avLst/>
                <a:gdLst>
                  <a:gd name="T0" fmla="*/ 0 w 912"/>
                  <a:gd name="T1" fmla="*/ 192 h 192"/>
                  <a:gd name="T2" fmla="*/ 111 w 912"/>
                  <a:gd name="T3" fmla="*/ 0 h 192"/>
                  <a:gd name="T4" fmla="*/ 801 w 912"/>
                  <a:gd name="T5" fmla="*/ 0 h 192"/>
                  <a:gd name="T6" fmla="*/ 912 w 912"/>
                  <a:gd name="T7" fmla="*/ 192 h 192"/>
                  <a:gd name="T8" fmla="*/ 0 w 912"/>
                  <a:gd name="T9" fmla="*/ 192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2" h="192">
                    <a:moveTo>
                      <a:pt x="0" y="192"/>
                    </a:moveTo>
                    <a:lnTo>
                      <a:pt x="111" y="0"/>
                    </a:lnTo>
                    <a:lnTo>
                      <a:pt x="801" y="0"/>
                    </a:lnTo>
                    <a:lnTo>
                      <a:pt x="912" y="192"/>
                    </a:lnTo>
                    <a:lnTo>
                      <a:pt x="0" y="192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non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r>
                  <a:rPr lang="en-US" altLang="zh-CN" dirty="0">
                    <a:solidFill>
                      <a:schemeClr val="bg1"/>
                    </a:solidFill>
                  </a:rPr>
                  <a:t>Text here</a:t>
                </a:r>
                <a:endParaRPr lang="zh-CN" alt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7DE77180-AD29-41CB-A1F0-D20084694E33}"/>
                  </a:ext>
                </a:extLst>
              </p:cNvPr>
              <p:cNvSpPr/>
              <p:nvPr/>
            </p:nvSpPr>
            <p:spPr bwMode="auto">
              <a:xfrm>
                <a:off x="5388207" y="2665358"/>
                <a:ext cx="1546665" cy="256905"/>
              </a:xfrm>
              <a:custGeom>
                <a:avLst/>
                <a:gdLst>
                  <a:gd name="T0" fmla="*/ 0 w 295"/>
                  <a:gd name="T1" fmla="*/ 0 h 49"/>
                  <a:gd name="T2" fmla="*/ 206 w 295"/>
                  <a:gd name="T3" fmla="*/ 0 h 49"/>
                  <a:gd name="T4" fmla="*/ 295 w 295"/>
                  <a:gd name="T5" fmla="*/ 49 h 49"/>
                  <a:gd name="T6" fmla="*/ 90 w 295"/>
                  <a:gd name="T7" fmla="*/ 49 h 49"/>
                  <a:gd name="T8" fmla="*/ 0 w 295"/>
                  <a:gd name="T9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5" h="49">
                    <a:moveTo>
                      <a:pt x="0" y="0"/>
                    </a:moveTo>
                    <a:lnTo>
                      <a:pt x="206" y="0"/>
                    </a:lnTo>
                    <a:lnTo>
                      <a:pt x="295" y="49"/>
                    </a:lnTo>
                    <a:lnTo>
                      <a:pt x="90" y="4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6" name="任意多边形: 形状 25">
                <a:extLst>
                  <a:ext uri="{FF2B5EF4-FFF2-40B4-BE49-F238E27FC236}">
                    <a16:creationId xmlns:a16="http://schemas.microsoft.com/office/drawing/2014/main" id="{27150AFC-3A7C-4FF9-BAE3-C2FBBA05CDA4}"/>
                  </a:ext>
                </a:extLst>
              </p:cNvPr>
              <p:cNvSpPr/>
              <p:nvPr/>
            </p:nvSpPr>
            <p:spPr bwMode="auto">
              <a:xfrm>
                <a:off x="4905857" y="3493742"/>
                <a:ext cx="2516606" cy="262146"/>
              </a:xfrm>
              <a:custGeom>
                <a:avLst/>
                <a:gdLst>
                  <a:gd name="T0" fmla="*/ 0 w 480"/>
                  <a:gd name="T1" fmla="*/ 0 h 50"/>
                  <a:gd name="T2" fmla="*/ 333 w 480"/>
                  <a:gd name="T3" fmla="*/ 0 h 50"/>
                  <a:gd name="T4" fmla="*/ 480 w 480"/>
                  <a:gd name="T5" fmla="*/ 50 h 50"/>
                  <a:gd name="T6" fmla="*/ 146 w 480"/>
                  <a:gd name="T7" fmla="*/ 50 h 50"/>
                  <a:gd name="T8" fmla="*/ 0 w 480"/>
                  <a:gd name="T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0" h="50">
                    <a:moveTo>
                      <a:pt x="0" y="0"/>
                    </a:moveTo>
                    <a:lnTo>
                      <a:pt x="333" y="0"/>
                    </a:lnTo>
                    <a:lnTo>
                      <a:pt x="480" y="50"/>
                    </a:lnTo>
                    <a:lnTo>
                      <a:pt x="146" y="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E18BEBA0-8175-4693-AD1B-E6509820BBC0}"/>
                  </a:ext>
                </a:extLst>
              </p:cNvPr>
              <p:cNvSpPr/>
              <p:nvPr/>
            </p:nvSpPr>
            <p:spPr bwMode="auto">
              <a:xfrm>
                <a:off x="4433995" y="4322125"/>
                <a:ext cx="3470818" cy="262146"/>
              </a:xfrm>
              <a:custGeom>
                <a:avLst/>
                <a:gdLst>
                  <a:gd name="T0" fmla="*/ 0 w 662"/>
                  <a:gd name="T1" fmla="*/ 0 h 50"/>
                  <a:gd name="T2" fmla="*/ 461 w 662"/>
                  <a:gd name="T3" fmla="*/ 0 h 50"/>
                  <a:gd name="T4" fmla="*/ 662 w 662"/>
                  <a:gd name="T5" fmla="*/ 50 h 50"/>
                  <a:gd name="T6" fmla="*/ 201 w 662"/>
                  <a:gd name="T7" fmla="*/ 50 h 50"/>
                  <a:gd name="T8" fmla="*/ 0 w 662"/>
                  <a:gd name="T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2" h="50">
                    <a:moveTo>
                      <a:pt x="0" y="0"/>
                    </a:moveTo>
                    <a:lnTo>
                      <a:pt x="461" y="0"/>
                    </a:lnTo>
                    <a:lnTo>
                      <a:pt x="662" y="50"/>
                    </a:lnTo>
                    <a:lnTo>
                      <a:pt x="201" y="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898A62AE-E025-4380-8359-E0319E4B04E4}"/>
                </a:ext>
              </a:extLst>
            </p:cNvPr>
            <p:cNvGrpSpPr/>
            <p:nvPr/>
          </p:nvGrpSpPr>
          <p:grpSpPr>
            <a:xfrm>
              <a:off x="7086000" y="1449000"/>
              <a:ext cx="4434482" cy="1254907"/>
              <a:chOff x="7086000" y="1449000"/>
              <a:chExt cx="4434482" cy="1254907"/>
            </a:xfrm>
          </p:grpSpPr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1A8BA345-D158-49E5-889D-0DACA61B5F6B}"/>
                  </a:ext>
                </a:extLst>
              </p:cNvPr>
              <p:cNvSpPr txBox="1"/>
              <p:nvPr/>
            </p:nvSpPr>
            <p:spPr>
              <a:xfrm>
                <a:off x="7086000" y="1773596"/>
                <a:ext cx="951341" cy="713505"/>
              </a:xfrm>
              <a:prstGeom prst="rect">
                <a:avLst/>
              </a:prstGeom>
              <a:noFill/>
            </p:spPr>
            <p:txBody>
              <a:bodyPr wrap="none" anchor="ctr" anchorCtr="0">
                <a:prstTxWarp prst="textPlain">
                  <a:avLst/>
                </a:prstTxWarp>
                <a:normAutofit fontScale="85000" lnSpcReduction="20000"/>
              </a:bodyPr>
              <a:lstStyle/>
              <a:p>
                <a:r>
                  <a:rPr lang="en-US" sz="6000" dirty="0">
                    <a:solidFill>
                      <a:schemeClr val="accent1"/>
                    </a:solidFill>
                    <a:latin typeface="Impact" panose="020B0806030902050204" pitchFamily="34" charset="0"/>
                  </a:rPr>
                  <a:t>66%</a:t>
                </a:r>
              </a:p>
            </p:txBody>
          </p:sp>
          <p:cxnSp>
            <p:nvCxnSpPr>
              <p:cNvPr id="18" name="直接连接符 17">
                <a:extLst>
                  <a:ext uri="{FF2B5EF4-FFF2-40B4-BE49-F238E27FC236}">
                    <a16:creationId xmlns:a16="http://schemas.microsoft.com/office/drawing/2014/main" id="{91E5ECFB-BE5A-4D87-84F5-35C0E016A9D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256000" y="1674000"/>
                <a:ext cx="0" cy="90000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  <a:headEnd type="none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文本框 18">
                <a:extLst>
                  <a:ext uri="{FF2B5EF4-FFF2-40B4-BE49-F238E27FC236}">
                    <a16:creationId xmlns:a16="http://schemas.microsoft.com/office/drawing/2014/main" id="{1367B7DA-A6F2-4BF2-BC4D-DAFF8B9D9C2A}"/>
                  </a:ext>
                </a:extLst>
              </p:cNvPr>
              <p:cNvSpPr txBox="1"/>
              <p:nvPr/>
            </p:nvSpPr>
            <p:spPr bwMode="auto">
              <a:xfrm>
                <a:off x="8389225" y="1449000"/>
                <a:ext cx="313125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000" b="1" dirty="0"/>
                  <a:t>…</a:t>
                </a:r>
                <a:r>
                  <a:rPr lang="zh-CN" altLang="en-US" sz="2000" b="1" dirty="0"/>
                  <a:t>比例</a:t>
                </a:r>
                <a:endParaRPr lang="en-US" altLang="zh-CN" sz="2000" b="1" dirty="0"/>
              </a:p>
            </p:txBody>
          </p:sp>
          <p:sp>
            <p:nvSpPr>
              <p:cNvPr id="20" name="矩形 19">
                <a:extLst>
                  <a:ext uri="{FF2B5EF4-FFF2-40B4-BE49-F238E27FC236}">
                    <a16:creationId xmlns:a16="http://schemas.microsoft.com/office/drawing/2014/main" id="{8B6243C1-9B2C-436F-BA34-07C65463824E}"/>
                  </a:ext>
                </a:extLst>
              </p:cNvPr>
              <p:cNvSpPr/>
              <p:nvPr/>
            </p:nvSpPr>
            <p:spPr bwMode="auto">
              <a:xfrm>
                <a:off x="8389225" y="1890806"/>
                <a:ext cx="3131257" cy="8131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 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ACA1F56D-D76A-4494-9CF9-2D65896B6E50}"/>
                </a:ext>
              </a:extLst>
            </p:cNvPr>
            <p:cNvGrpSpPr/>
            <p:nvPr/>
          </p:nvGrpSpPr>
          <p:grpSpPr>
            <a:xfrm>
              <a:off x="680800" y="2477281"/>
              <a:ext cx="4091832" cy="1196386"/>
              <a:chOff x="666932" y="4425289"/>
              <a:chExt cx="3082945" cy="1196386"/>
            </a:xfrm>
          </p:grpSpPr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DE84298A-8A01-44C4-B05E-107C6B9DC2B2}"/>
                  </a:ext>
                </a:extLst>
              </p:cNvPr>
              <p:cNvSpPr txBox="1"/>
              <p:nvPr/>
            </p:nvSpPr>
            <p:spPr bwMode="auto">
              <a:xfrm>
                <a:off x="666932" y="4425289"/>
                <a:ext cx="3082945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000" b="1" dirty="0"/>
                  <a:t>…</a:t>
                </a:r>
                <a:r>
                  <a:rPr lang="zh-CN" altLang="en-US" sz="2000" b="1" dirty="0"/>
                  <a:t>比例</a:t>
                </a:r>
                <a:endParaRPr lang="en-US" altLang="zh-CN" sz="2000" b="1" dirty="0"/>
              </a:p>
            </p:txBody>
          </p:sp>
          <p:sp>
            <p:nvSpPr>
              <p:cNvPr id="16" name="矩形 15">
                <a:extLst>
                  <a:ext uri="{FF2B5EF4-FFF2-40B4-BE49-F238E27FC236}">
                    <a16:creationId xmlns:a16="http://schemas.microsoft.com/office/drawing/2014/main" id="{5765F2F1-6BC4-4FE7-BC57-316E2C761D80}"/>
                  </a:ext>
                </a:extLst>
              </p:cNvPr>
              <p:cNvSpPr/>
              <p:nvPr/>
            </p:nvSpPr>
            <p:spPr bwMode="auto">
              <a:xfrm>
                <a:off x="666932" y="4867096"/>
                <a:ext cx="3082945" cy="7545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 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51CCFE08-635F-4376-BB82-4B90B8D2FCE9}"/>
                </a:ext>
              </a:extLst>
            </p:cNvPr>
            <p:cNvGrpSpPr/>
            <p:nvPr/>
          </p:nvGrpSpPr>
          <p:grpSpPr>
            <a:xfrm>
              <a:off x="7742281" y="3494166"/>
              <a:ext cx="3778208" cy="1220011"/>
              <a:chOff x="666932" y="4425289"/>
              <a:chExt cx="3082945" cy="1220011"/>
            </a:xfrm>
          </p:grpSpPr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C1DF865D-FDFF-4758-AEDC-42F7308B02EF}"/>
                  </a:ext>
                </a:extLst>
              </p:cNvPr>
              <p:cNvSpPr txBox="1"/>
              <p:nvPr/>
            </p:nvSpPr>
            <p:spPr bwMode="auto">
              <a:xfrm>
                <a:off x="666932" y="4425289"/>
                <a:ext cx="3082945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000" b="1" dirty="0"/>
                  <a:t>…</a:t>
                </a:r>
                <a:r>
                  <a:rPr lang="zh-CN" altLang="en-US" sz="2000" b="1" dirty="0"/>
                  <a:t>比例</a:t>
                </a:r>
                <a:endParaRPr lang="en-US" altLang="zh-CN" sz="2000" b="1" dirty="0"/>
              </a:p>
            </p:txBody>
          </p:sp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483D2F32-B7D5-4368-91F7-FB012C1CDD6D}"/>
                  </a:ext>
                </a:extLst>
              </p:cNvPr>
              <p:cNvSpPr/>
              <p:nvPr/>
            </p:nvSpPr>
            <p:spPr bwMode="auto">
              <a:xfrm>
                <a:off x="666932" y="4867096"/>
                <a:ext cx="3082945" cy="7782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 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EF4B93D1-C0E2-46A5-BB26-BD0CEADCD378}"/>
                </a:ext>
              </a:extLst>
            </p:cNvPr>
            <p:cNvGrpSpPr/>
            <p:nvPr/>
          </p:nvGrpSpPr>
          <p:grpSpPr>
            <a:xfrm>
              <a:off x="680800" y="4419829"/>
              <a:ext cx="3171231" cy="1335523"/>
              <a:chOff x="666932" y="4425289"/>
              <a:chExt cx="3082945" cy="1335523"/>
            </a:xfrm>
          </p:grpSpPr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F5BCD6B0-A7EC-4050-ABA3-ABC528050D9B}"/>
                  </a:ext>
                </a:extLst>
              </p:cNvPr>
              <p:cNvSpPr txBox="1"/>
              <p:nvPr/>
            </p:nvSpPr>
            <p:spPr bwMode="auto">
              <a:xfrm>
                <a:off x="666932" y="4425289"/>
                <a:ext cx="3082945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000" b="1" dirty="0"/>
                  <a:t>…</a:t>
                </a:r>
                <a:r>
                  <a:rPr lang="zh-CN" altLang="en-US" sz="2000" b="1" dirty="0"/>
                  <a:t>比例</a:t>
                </a:r>
                <a:endParaRPr lang="en-US" altLang="zh-CN" sz="2000" b="1" dirty="0"/>
              </a:p>
            </p:txBody>
          </p:sp>
          <p:sp>
            <p:nvSpPr>
              <p:cNvPr id="12" name="矩形 11">
                <a:extLst>
                  <a:ext uri="{FF2B5EF4-FFF2-40B4-BE49-F238E27FC236}">
                    <a16:creationId xmlns:a16="http://schemas.microsoft.com/office/drawing/2014/main" id="{A6B89E7F-D655-4D99-BDD2-107CFE4CE528}"/>
                  </a:ext>
                </a:extLst>
              </p:cNvPr>
              <p:cNvSpPr/>
              <p:nvPr/>
            </p:nvSpPr>
            <p:spPr bwMode="auto">
              <a:xfrm>
                <a:off x="666932" y="4867096"/>
                <a:ext cx="3082945" cy="8937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 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212474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D484210-2E8D-46EA-918C-2F049BE5E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季度完成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BEBE919-3204-4FBC-8739-8E5A8F63977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CE50B08-FC14-499D-AC3C-0398A48E2C8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3DA85F9F-5B7D-4C1C-9870-2EF474F78A31}"/>
              </a:ext>
            </a:extLst>
          </p:cNvPr>
          <p:cNvGrpSpPr/>
          <p:nvPr/>
        </p:nvGrpSpPr>
        <p:grpSpPr>
          <a:xfrm>
            <a:off x="4026213" y="1536700"/>
            <a:ext cx="4139574" cy="3784600"/>
            <a:chOff x="1067142" y="1509486"/>
            <a:chExt cx="4513065" cy="4126063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31926680-E886-40C2-AE6B-8EBB603D3C38}"/>
                </a:ext>
              </a:extLst>
            </p:cNvPr>
            <p:cNvGrpSpPr/>
            <p:nvPr/>
          </p:nvGrpSpPr>
          <p:grpSpPr>
            <a:xfrm>
              <a:off x="1067142" y="1509486"/>
              <a:ext cx="4513065" cy="4126063"/>
              <a:chOff x="3302342" y="546212"/>
              <a:chExt cx="5843064" cy="5342011"/>
            </a:xfrm>
          </p:grpSpPr>
          <p:sp>
            <p:nvSpPr>
              <p:cNvPr id="12" name="泪滴形 11">
                <a:extLst>
                  <a:ext uri="{FF2B5EF4-FFF2-40B4-BE49-F238E27FC236}">
                    <a16:creationId xmlns:a16="http://schemas.microsoft.com/office/drawing/2014/main" id="{B5EDDCF1-AD42-4074-9253-DE49384E60FB}"/>
                  </a:ext>
                </a:extLst>
              </p:cNvPr>
              <p:cNvSpPr/>
              <p:nvPr/>
            </p:nvSpPr>
            <p:spPr>
              <a:xfrm rot="18900000" flipH="1">
                <a:off x="6593271" y="1987505"/>
                <a:ext cx="2552135" cy="2552135"/>
              </a:xfrm>
              <a:prstGeom prst="teardrop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anchor="ctr"/>
              <a:lstStyle/>
              <a:p>
                <a:pPr algn="ctr"/>
                <a:endParaRPr/>
              </a:p>
            </p:txBody>
          </p:sp>
          <p:sp>
            <p:nvSpPr>
              <p:cNvPr id="13" name="泪滴形 12">
                <a:extLst>
                  <a:ext uri="{FF2B5EF4-FFF2-40B4-BE49-F238E27FC236}">
                    <a16:creationId xmlns:a16="http://schemas.microsoft.com/office/drawing/2014/main" id="{13F7F97E-BAA7-4440-A68E-115403499A93}"/>
                  </a:ext>
                </a:extLst>
              </p:cNvPr>
              <p:cNvSpPr/>
              <p:nvPr/>
            </p:nvSpPr>
            <p:spPr>
              <a:xfrm rot="18900000" flipH="1">
                <a:off x="6672493" y="827585"/>
                <a:ext cx="1705474" cy="1705474"/>
              </a:xfrm>
              <a:prstGeom prst="teardrop">
                <a:avLst/>
              </a:prstGeom>
              <a:solidFill>
                <a:schemeClr val="bg1">
                  <a:lumMod val="85000"/>
                </a:schemeClr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anchor="ctr"/>
              <a:lstStyle/>
              <a:p>
                <a:pPr algn="ctr"/>
                <a:endParaRPr/>
              </a:p>
            </p:txBody>
          </p:sp>
          <p:sp>
            <p:nvSpPr>
              <p:cNvPr id="14" name="泪滴形 13">
                <a:extLst>
                  <a:ext uri="{FF2B5EF4-FFF2-40B4-BE49-F238E27FC236}">
                    <a16:creationId xmlns:a16="http://schemas.microsoft.com/office/drawing/2014/main" id="{C3AB2CB0-10AA-4D77-8E0D-DB70A7121246}"/>
                  </a:ext>
                </a:extLst>
              </p:cNvPr>
              <p:cNvSpPr/>
              <p:nvPr/>
            </p:nvSpPr>
            <p:spPr>
              <a:xfrm rot="2700000">
                <a:off x="4294345" y="1229609"/>
                <a:ext cx="2237783" cy="2237783"/>
              </a:xfrm>
              <a:prstGeom prst="teardrop">
                <a:avLst/>
              </a:prstGeom>
              <a:solidFill>
                <a:schemeClr val="accent1"/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anchor="ctr"/>
              <a:lstStyle/>
              <a:p>
                <a:pPr algn="ctr"/>
                <a:endParaRPr/>
              </a:p>
            </p:txBody>
          </p:sp>
          <p:sp>
            <p:nvSpPr>
              <p:cNvPr id="15" name="泪滴形 14">
                <a:extLst>
                  <a:ext uri="{FF2B5EF4-FFF2-40B4-BE49-F238E27FC236}">
                    <a16:creationId xmlns:a16="http://schemas.microsoft.com/office/drawing/2014/main" id="{495B6389-9D9B-4F38-B7DD-63A098D482B5}"/>
                  </a:ext>
                </a:extLst>
              </p:cNvPr>
              <p:cNvSpPr/>
              <p:nvPr/>
            </p:nvSpPr>
            <p:spPr>
              <a:xfrm rot="2700000">
                <a:off x="5254783" y="546212"/>
                <a:ext cx="1285875" cy="1285875"/>
              </a:xfrm>
              <a:prstGeom prst="teardrop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anchor="ctr"/>
              <a:lstStyle/>
              <a:p>
                <a:pPr algn="ctr"/>
                <a:endParaRPr/>
              </a:p>
            </p:txBody>
          </p:sp>
          <p:sp>
            <p:nvSpPr>
              <p:cNvPr id="16" name="泪滴形 15">
                <a:extLst>
                  <a:ext uri="{FF2B5EF4-FFF2-40B4-BE49-F238E27FC236}">
                    <a16:creationId xmlns:a16="http://schemas.microsoft.com/office/drawing/2014/main" id="{F9607A14-2DA3-4481-BA57-C31CC6FDF6D7}"/>
                  </a:ext>
                </a:extLst>
              </p:cNvPr>
              <p:cNvSpPr/>
              <p:nvPr/>
            </p:nvSpPr>
            <p:spPr>
              <a:xfrm rot="2700000">
                <a:off x="3302342" y="2718238"/>
                <a:ext cx="3169985" cy="3169985"/>
              </a:xfrm>
              <a:prstGeom prst="teardrop">
                <a:avLst/>
              </a:prstGeom>
              <a:solidFill>
                <a:schemeClr val="bg1">
                  <a:lumMod val="85000"/>
                </a:schemeClr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45720" anchor="ctr"/>
              <a:lstStyle/>
              <a:p>
                <a:pPr algn="ctr"/>
                <a:endParaRPr/>
              </a:p>
            </p:txBody>
          </p:sp>
        </p:grp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C52DEF75-1133-411E-B50F-88A2F9E19FA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3991" y="2621812"/>
              <a:ext cx="424066" cy="358366"/>
            </a:xfrm>
            <a:custGeom>
              <a:avLst/>
              <a:gdLst>
                <a:gd name="connsiteX0" fmla="*/ 46038 w 338138"/>
                <a:gd name="connsiteY0" fmla="*/ 261938 h 285751"/>
                <a:gd name="connsiteX1" fmla="*/ 38100 w 338138"/>
                <a:gd name="connsiteY1" fmla="*/ 270670 h 285751"/>
                <a:gd name="connsiteX2" fmla="*/ 46038 w 338138"/>
                <a:gd name="connsiteY2" fmla="*/ 279402 h 285751"/>
                <a:gd name="connsiteX3" fmla="*/ 53976 w 338138"/>
                <a:gd name="connsiteY3" fmla="*/ 270670 h 285751"/>
                <a:gd name="connsiteX4" fmla="*/ 46038 w 338138"/>
                <a:gd name="connsiteY4" fmla="*/ 261938 h 285751"/>
                <a:gd name="connsiteX5" fmla="*/ 288131 w 338138"/>
                <a:gd name="connsiteY5" fmla="*/ 184150 h 285751"/>
                <a:gd name="connsiteX6" fmla="*/ 277812 w 338138"/>
                <a:gd name="connsiteY6" fmla="*/ 194469 h 285751"/>
                <a:gd name="connsiteX7" fmla="*/ 288131 w 338138"/>
                <a:gd name="connsiteY7" fmla="*/ 204788 h 285751"/>
                <a:gd name="connsiteX8" fmla="*/ 298450 w 338138"/>
                <a:gd name="connsiteY8" fmla="*/ 194469 h 285751"/>
                <a:gd name="connsiteX9" fmla="*/ 288131 w 338138"/>
                <a:gd name="connsiteY9" fmla="*/ 184150 h 285751"/>
                <a:gd name="connsiteX10" fmla="*/ 19050 w 338138"/>
                <a:gd name="connsiteY10" fmla="*/ 165100 h 285751"/>
                <a:gd name="connsiteX11" fmla="*/ 19050 w 338138"/>
                <a:gd name="connsiteY11" fmla="*/ 242888 h 285751"/>
                <a:gd name="connsiteX12" fmla="*/ 73025 w 338138"/>
                <a:gd name="connsiteY12" fmla="*/ 242888 h 285751"/>
                <a:gd name="connsiteX13" fmla="*/ 73025 w 338138"/>
                <a:gd name="connsiteY13" fmla="*/ 165100 h 285751"/>
                <a:gd name="connsiteX14" fmla="*/ 12010 w 338138"/>
                <a:gd name="connsiteY14" fmla="*/ 141288 h 285751"/>
                <a:gd name="connsiteX15" fmla="*/ 81400 w 338138"/>
                <a:gd name="connsiteY15" fmla="*/ 141288 h 285751"/>
                <a:gd name="connsiteX16" fmla="*/ 92075 w 338138"/>
                <a:gd name="connsiteY16" fmla="*/ 153107 h 285751"/>
                <a:gd name="connsiteX17" fmla="*/ 92075 w 338138"/>
                <a:gd name="connsiteY17" fmla="*/ 273932 h 285751"/>
                <a:gd name="connsiteX18" fmla="*/ 81400 w 338138"/>
                <a:gd name="connsiteY18" fmla="*/ 285751 h 285751"/>
                <a:gd name="connsiteX19" fmla="*/ 12010 w 338138"/>
                <a:gd name="connsiteY19" fmla="*/ 285751 h 285751"/>
                <a:gd name="connsiteX20" fmla="*/ 0 w 338138"/>
                <a:gd name="connsiteY20" fmla="*/ 273932 h 285751"/>
                <a:gd name="connsiteX21" fmla="*/ 0 w 338138"/>
                <a:gd name="connsiteY21" fmla="*/ 153107 h 285751"/>
                <a:gd name="connsiteX22" fmla="*/ 12010 w 338138"/>
                <a:gd name="connsiteY22" fmla="*/ 141288 h 285751"/>
                <a:gd name="connsiteX23" fmla="*/ 55002 w 338138"/>
                <a:gd name="connsiteY23" fmla="*/ 82550 h 285751"/>
                <a:gd name="connsiteX24" fmla="*/ 175185 w 338138"/>
                <a:gd name="connsiteY24" fmla="*/ 82550 h 285751"/>
                <a:gd name="connsiteX25" fmla="*/ 193675 w 338138"/>
                <a:gd name="connsiteY25" fmla="*/ 99703 h 285751"/>
                <a:gd name="connsiteX26" fmla="*/ 193675 w 338138"/>
                <a:gd name="connsiteY26" fmla="*/ 268597 h 285751"/>
                <a:gd name="connsiteX27" fmla="*/ 175185 w 338138"/>
                <a:gd name="connsiteY27" fmla="*/ 285750 h 285751"/>
                <a:gd name="connsiteX28" fmla="*/ 107830 w 338138"/>
                <a:gd name="connsiteY28" fmla="*/ 285750 h 285751"/>
                <a:gd name="connsiteX29" fmla="*/ 109151 w 338138"/>
                <a:gd name="connsiteY29" fmla="*/ 276514 h 285751"/>
                <a:gd name="connsiteX30" fmla="*/ 109151 w 338138"/>
                <a:gd name="connsiteY30" fmla="*/ 273875 h 285751"/>
                <a:gd name="connsiteX31" fmla="*/ 115754 w 338138"/>
                <a:gd name="connsiteY31" fmla="*/ 275194 h 285751"/>
                <a:gd name="connsiteX32" fmla="*/ 124999 w 338138"/>
                <a:gd name="connsiteY32" fmla="*/ 264639 h 285751"/>
                <a:gd name="connsiteX33" fmla="*/ 115754 w 338138"/>
                <a:gd name="connsiteY33" fmla="*/ 254083 h 285751"/>
                <a:gd name="connsiteX34" fmla="*/ 109151 w 338138"/>
                <a:gd name="connsiteY34" fmla="*/ 256722 h 285751"/>
                <a:gd name="connsiteX35" fmla="*/ 109151 w 338138"/>
                <a:gd name="connsiteY35" fmla="*/ 235610 h 285751"/>
                <a:gd name="connsiteX36" fmla="*/ 168582 w 338138"/>
                <a:gd name="connsiteY36" fmla="*/ 235610 h 285751"/>
                <a:gd name="connsiteX37" fmla="*/ 168582 w 338138"/>
                <a:gd name="connsiteY37" fmla="*/ 110259 h 285751"/>
                <a:gd name="connsiteX38" fmla="*/ 61606 w 338138"/>
                <a:gd name="connsiteY38" fmla="*/ 110259 h 285751"/>
                <a:gd name="connsiteX39" fmla="*/ 61606 w 338138"/>
                <a:gd name="connsiteY39" fmla="*/ 126093 h 285751"/>
                <a:gd name="connsiteX40" fmla="*/ 36512 w 338138"/>
                <a:gd name="connsiteY40" fmla="*/ 126093 h 285751"/>
                <a:gd name="connsiteX41" fmla="*/ 36512 w 338138"/>
                <a:gd name="connsiteY41" fmla="*/ 99703 h 285751"/>
                <a:gd name="connsiteX42" fmla="*/ 55002 w 338138"/>
                <a:gd name="connsiteY42" fmla="*/ 82550 h 285751"/>
                <a:gd name="connsiteX43" fmla="*/ 102729 w 338138"/>
                <a:gd name="connsiteY43" fmla="*/ 0 h 285751"/>
                <a:gd name="connsiteX44" fmla="*/ 305260 w 338138"/>
                <a:gd name="connsiteY44" fmla="*/ 0 h 285751"/>
                <a:gd name="connsiteX45" fmla="*/ 338138 w 338138"/>
                <a:gd name="connsiteY45" fmla="*/ 34237 h 285751"/>
                <a:gd name="connsiteX46" fmla="*/ 338138 w 338138"/>
                <a:gd name="connsiteY46" fmla="*/ 188306 h 285751"/>
                <a:gd name="connsiteX47" fmla="*/ 305260 w 338138"/>
                <a:gd name="connsiteY47" fmla="*/ 221226 h 285751"/>
                <a:gd name="connsiteX48" fmla="*/ 234242 w 338138"/>
                <a:gd name="connsiteY48" fmla="*/ 221226 h 285751"/>
                <a:gd name="connsiteX49" fmla="*/ 234242 w 338138"/>
                <a:gd name="connsiteY49" fmla="*/ 243612 h 285751"/>
                <a:gd name="connsiteX50" fmla="*/ 265806 w 338138"/>
                <a:gd name="connsiteY50" fmla="*/ 243612 h 285751"/>
                <a:gd name="connsiteX51" fmla="*/ 277642 w 338138"/>
                <a:gd name="connsiteY51" fmla="*/ 256780 h 285751"/>
                <a:gd name="connsiteX52" fmla="*/ 277642 w 338138"/>
                <a:gd name="connsiteY52" fmla="*/ 272582 h 285751"/>
                <a:gd name="connsiteX53" fmla="*/ 265806 w 338138"/>
                <a:gd name="connsiteY53" fmla="*/ 285750 h 285751"/>
                <a:gd name="connsiteX54" fmla="*/ 205309 w 338138"/>
                <a:gd name="connsiteY54" fmla="*/ 285750 h 285751"/>
                <a:gd name="connsiteX55" fmla="*/ 210570 w 338138"/>
                <a:gd name="connsiteY55" fmla="*/ 269948 h 285751"/>
                <a:gd name="connsiteX56" fmla="*/ 210570 w 338138"/>
                <a:gd name="connsiteY56" fmla="*/ 213325 h 285751"/>
                <a:gd name="connsiteX57" fmla="*/ 210570 w 338138"/>
                <a:gd name="connsiteY57" fmla="*/ 172504 h 285751"/>
                <a:gd name="connsiteX58" fmla="*/ 296054 w 338138"/>
                <a:gd name="connsiteY58" fmla="*/ 172504 h 285751"/>
                <a:gd name="connsiteX59" fmla="*/ 309205 w 338138"/>
                <a:gd name="connsiteY59" fmla="*/ 159335 h 285751"/>
                <a:gd name="connsiteX60" fmla="*/ 309205 w 338138"/>
                <a:gd name="connsiteY60" fmla="*/ 39504 h 285751"/>
                <a:gd name="connsiteX61" fmla="*/ 296054 w 338138"/>
                <a:gd name="connsiteY61" fmla="*/ 27653 h 285751"/>
                <a:gd name="connsiteX62" fmla="*/ 110620 w 338138"/>
                <a:gd name="connsiteY62" fmla="*/ 27653 h 285751"/>
                <a:gd name="connsiteX63" fmla="*/ 98783 w 338138"/>
                <a:gd name="connsiteY63" fmla="*/ 39504 h 285751"/>
                <a:gd name="connsiteX64" fmla="*/ 98783 w 338138"/>
                <a:gd name="connsiteY64" fmla="*/ 65841 h 285751"/>
                <a:gd name="connsiteX65" fmla="*/ 69850 w 338138"/>
                <a:gd name="connsiteY65" fmla="*/ 65841 h 285751"/>
                <a:gd name="connsiteX66" fmla="*/ 69850 w 338138"/>
                <a:gd name="connsiteY66" fmla="*/ 34237 h 285751"/>
                <a:gd name="connsiteX67" fmla="*/ 102729 w 338138"/>
                <a:gd name="connsiteY67" fmla="*/ 0 h 28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38138" h="285751">
                  <a:moveTo>
                    <a:pt x="46038" y="261938"/>
                  </a:moveTo>
                  <a:cubicBezTo>
                    <a:pt x="41654" y="261938"/>
                    <a:pt x="38100" y="265847"/>
                    <a:pt x="38100" y="270670"/>
                  </a:cubicBezTo>
                  <a:cubicBezTo>
                    <a:pt x="38100" y="275493"/>
                    <a:pt x="41654" y="279402"/>
                    <a:pt x="46038" y="279402"/>
                  </a:cubicBezTo>
                  <a:cubicBezTo>
                    <a:pt x="50422" y="279402"/>
                    <a:pt x="53976" y="275493"/>
                    <a:pt x="53976" y="270670"/>
                  </a:cubicBezTo>
                  <a:cubicBezTo>
                    <a:pt x="53976" y="265847"/>
                    <a:pt x="50422" y="261938"/>
                    <a:pt x="46038" y="261938"/>
                  </a:cubicBezTo>
                  <a:close/>
                  <a:moveTo>
                    <a:pt x="288131" y="184150"/>
                  </a:moveTo>
                  <a:cubicBezTo>
                    <a:pt x="282432" y="184150"/>
                    <a:pt x="277812" y="188770"/>
                    <a:pt x="277812" y="194469"/>
                  </a:cubicBezTo>
                  <a:cubicBezTo>
                    <a:pt x="277812" y="200168"/>
                    <a:pt x="282432" y="204788"/>
                    <a:pt x="288131" y="204788"/>
                  </a:cubicBezTo>
                  <a:cubicBezTo>
                    <a:pt x="293830" y="204788"/>
                    <a:pt x="298450" y="200168"/>
                    <a:pt x="298450" y="194469"/>
                  </a:cubicBezTo>
                  <a:cubicBezTo>
                    <a:pt x="298450" y="188770"/>
                    <a:pt x="293830" y="184150"/>
                    <a:pt x="288131" y="184150"/>
                  </a:cubicBezTo>
                  <a:close/>
                  <a:moveTo>
                    <a:pt x="19050" y="165100"/>
                  </a:moveTo>
                  <a:lnTo>
                    <a:pt x="19050" y="242888"/>
                  </a:lnTo>
                  <a:lnTo>
                    <a:pt x="73025" y="242888"/>
                  </a:lnTo>
                  <a:lnTo>
                    <a:pt x="73025" y="165100"/>
                  </a:lnTo>
                  <a:close/>
                  <a:moveTo>
                    <a:pt x="12010" y="141288"/>
                  </a:moveTo>
                  <a:cubicBezTo>
                    <a:pt x="12010" y="141288"/>
                    <a:pt x="12010" y="141288"/>
                    <a:pt x="81400" y="141288"/>
                  </a:cubicBezTo>
                  <a:cubicBezTo>
                    <a:pt x="86738" y="141288"/>
                    <a:pt x="92075" y="146541"/>
                    <a:pt x="92075" y="153107"/>
                  </a:cubicBezTo>
                  <a:cubicBezTo>
                    <a:pt x="92075" y="153107"/>
                    <a:pt x="92075" y="153107"/>
                    <a:pt x="92075" y="273932"/>
                  </a:cubicBezTo>
                  <a:cubicBezTo>
                    <a:pt x="92075" y="280498"/>
                    <a:pt x="86738" y="285751"/>
                    <a:pt x="81400" y="285751"/>
                  </a:cubicBezTo>
                  <a:cubicBezTo>
                    <a:pt x="81400" y="285751"/>
                    <a:pt x="81400" y="285751"/>
                    <a:pt x="12010" y="285751"/>
                  </a:cubicBezTo>
                  <a:cubicBezTo>
                    <a:pt x="5337" y="285751"/>
                    <a:pt x="0" y="280498"/>
                    <a:pt x="0" y="273932"/>
                  </a:cubicBezTo>
                  <a:cubicBezTo>
                    <a:pt x="0" y="273932"/>
                    <a:pt x="0" y="273932"/>
                    <a:pt x="0" y="153107"/>
                  </a:cubicBezTo>
                  <a:cubicBezTo>
                    <a:pt x="0" y="146541"/>
                    <a:pt x="5337" y="141288"/>
                    <a:pt x="12010" y="141288"/>
                  </a:cubicBezTo>
                  <a:close/>
                  <a:moveTo>
                    <a:pt x="55002" y="82550"/>
                  </a:moveTo>
                  <a:cubicBezTo>
                    <a:pt x="55002" y="82550"/>
                    <a:pt x="55002" y="82550"/>
                    <a:pt x="175185" y="82550"/>
                  </a:cubicBezTo>
                  <a:cubicBezTo>
                    <a:pt x="185751" y="82550"/>
                    <a:pt x="193675" y="90467"/>
                    <a:pt x="193675" y="99703"/>
                  </a:cubicBezTo>
                  <a:cubicBezTo>
                    <a:pt x="193675" y="99703"/>
                    <a:pt x="193675" y="99703"/>
                    <a:pt x="193675" y="268597"/>
                  </a:cubicBezTo>
                  <a:cubicBezTo>
                    <a:pt x="193675" y="277833"/>
                    <a:pt x="185751" y="285750"/>
                    <a:pt x="175185" y="285750"/>
                  </a:cubicBezTo>
                  <a:cubicBezTo>
                    <a:pt x="175185" y="285750"/>
                    <a:pt x="175185" y="285750"/>
                    <a:pt x="107830" y="285750"/>
                  </a:cubicBezTo>
                  <a:cubicBezTo>
                    <a:pt x="109151" y="283111"/>
                    <a:pt x="109151" y="280472"/>
                    <a:pt x="109151" y="276514"/>
                  </a:cubicBezTo>
                  <a:cubicBezTo>
                    <a:pt x="109151" y="276514"/>
                    <a:pt x="109151" y="276514"/>
                    <a:pt x="109151" y="273875"/>
                  </a:cubicBezTo>
                  <a:cubicBezTo>
                    <a:pt x="110471" y="273875"/>
                    <a:pt x="113113" y="275194"/>
                    <a:pt x="115754" y="275194"/>
                  </a:cubicBezTo>
                  <a:cubicBezTo>
                    <a:pt x="121037" y="275194"/>
                    <a:pt x="124999" y="271236"/>
                    <a:pt x="124999" y="264639"/>
                  </a:cubicBezTo>
                  <a:cubicBezTo>
                    <a:pt x="124999" y="259361"/>
                    <a:pt x="121037" y="254083"/>
                    <a:pt x="115754" y="254083"/>
                  </a:cubicBezTo>
                  <a:cubicBezTo>
                    <a:pt x="113113" y="254083"/>
                    <a:pt x="110471" y="255402"/>
                    <a:pt x="109151" y="256722"/>
                  </a:cubicBezTo>
                  <a:cubicBezTo>
                    <a:pt x="109151" y="256722"/>
                    <a:pt x="109151" y="256722"/>
                    <a:pt x="109151" y="235610"/>
                  </a:cubicBezTo>
                  <a:cubicBezTo>
                    <a:pt x="109151" y="235610"/>
                    <a:pt x="109151" y="235610"/>
                    <a:pt x="168582" y="235610"/>
                  </a:cubicBezTo>
                  <a:cubicBezTo>
                    <a:pt x="168582" y="235610"/>
                    <a:pt x="168582" y="235610"/>
                    <a:pt x="168582" y="110259"/>
                  </a:cubicBezTo>
                  <a:cubicBezTo>
                    <a:pt x="168582" y="110259"/>
                    <a:pt x="168582" y="110259"/>
                    <a:pt x="61606" y="110259"/>
                  </a:cubicBezTo>
                  <a:cubicBezTo>
                    <a:pt x="61606" y="110259"/>
                    <a:pt x="61606" y="110259"/>
                    <a:pt x="61606" y="126093"/>
                  </a:cubicBezTo>
                  <a:cubicBezTo>
                    <a:pt x="61606" y="126093"/>
                    <a:pt x="61606" y="126093"/>
                    <a:pt x="36512" y="126093"/>
                  </a:cubicBezTo>
                  <a:cubicBezTo>
                    <a:pt x="36512" y="126093"/>
                    <a:pt x="36512" y="126093"/>
                    <a:pt x="36512" y="99703"/>
                  </a:cubicBezTo>
                  <a:cubicBezTo>
                    <a:pt x="36512" y="90467"/>
                    <a:pt x="45757" y="82550"/>
                    <a:pt x="55002" y="82550"/>
                  </a:cubicBezTo>
                  <a:close/>
                  <a:moveTo>
                    <a:pt x="102729" y="0"/>
                  </a:moveTo>
                  <a:cubicBezTo>
                    <a:pt x="102729" y="0"/>
                    <a:pt x="102729" y="0"/>
                    <a:pt x="305260" y="0"/>
                  </a:cubicBezTo>
                  <a:cubicBezTo>
                    <a:pt x="323672" y="0"/>
                    <a:pt x="338138" y="15802"/>
                    <a:pt x="338138" y="34237"/>
                  </a:cubicBezTo>
                  <a:cubicBezTo>
                    <a:pt x="338138" y="34237"/>
                    <a:pt x="338138" y="34237"/>
                    <a:pt x="338138" y="188306"/>
                  </a:cubicBezTo>
                  <a:cubicBezTo>
                    <a:pt x="338138" y="206741"/>
                    <a:pt x="323672" y="221226"/>
                    <a:pt x="305260" y="221226"/>
                  </a:cubicBezTo>
                  <a:cubicBezTo>
                    <a:pt x="305260" y="221226"/>
                    <a:pt x="305260" y="221226"/>
                    <a:pt x="234242" y="221226"/>
                  </a:cubicBezTo>
                  <a:cubicBezTo>
                    <a:pt x="234242" y="221226"/>
                    <a:pt x="234242" y="221226"/>
                    <a:pt x="234242" y="243612"/>
                  </a:cubicBezTo>
                  <a:cubicBezTo>
                    <a:pt x="234242" y="243612"/>
                    <a:pt x="234242" y="243612"/>
                    <a:pt x="265806" y="243612"/>
                  </a:cubicBezTo>
                  <a:cubicBezTo>
                    <a:pt x="272381" y="243612"/>
                    <a:pt x="277642" y="250196"/>
                    <a:pt x="277642" y="256780"/>
                  </a:cubicBezTo>
                  <a:cubicBezTo>
                    <a:pt x="277642" y="256780"/>
                    <a:pt x="277642" y="256780"/>
                    <a:pt x="277642" y="272582"/>
                  </a:cubicBezTo>
                  <a:cubicBezTo>
                    <a:pt x="277642" y="280483"/>
                    <a:pt x="272381" y="285750"/>
                    <a:pt x="265806" y="285750"/>
                  </a:cubicBezTo>
                  <a:cubicBezTo>
                    <a:pt x="265806" y="285750"/>
                    <a:pt x="265806" y="285750"/>
                    <a:pt x="205309" y="285750"/>
                  </a:cubicBezTo>
                  <a:cubicBezTo>
                    <a:pt x="207940" y="280483"/>
                    <a:pt x="209255" y="275216"/>
                    <a:pt x="210570" y="269948"/>
                  </a:cubicBezTo>
                  <a:cubicBezTo>
                    <a:pt x="210570" y="268632"/>
                    <a:pt x="210570" y="213325"/>
                    <a:pt x="210570" y="213325"/>
                  </a:cubicBezTo>
                  <a:cubicBezTo>
                    <a:pt x="210570" y="213325"/>
                    <a:pt x="210570" y="213325"/>
                    <a:pt x="210570" y="172504"/>
                  </a:cubicBezTo>
                  <a:cubicBezTo>
                    <a:pt x="210570" y="172504"/>
                    <a:pt x="210570" y="172504"/>
                    <a:pt x="296054" y="172504"/>
                  </a:cubicBezTo>
                  <a:cubicBezTo>
                    <a:pt x="303945" y="172504"/>
                    <a:pt x="309205" y="165920"/>
                    <a:pt x="309205" y="159335"/>
                  </a:cubicBezTo>
                  <a:cubicBezTo>
                    <a:pt x="309205" y="159335"/>
                    <a:pt x="309205" y="159335"/>
                    <a:pt x="309205" y="39504"/>
                  </a:cubicBezTo>
                  <a:cubicBezTo>
                    <a:pt x="309205" y="32920"/>
                    <a:pt x="303945" y="27653"/>
                    <a:pt x="296054" y="27653"/>
                  </a:cubicBezTo>
                  <a:cubicBezTo>
                    <a:pt x="296054" y="27653"/>
                    <a:pt x="296054" y="27653"/>
                    <a:pt x="110620" y="27653"/>
                  </a:cubicBezTo>
                  <a:cubicBezTo>
                    <a:pt x="104044" y="27653"/>
                    <a:pt x="98783" y="32920"/>
                    <a:pt x="98783" y="39504"/>
                  </a:cubicBezTo>
                  <a:cubicBezTo>
                    <a:pt x="98783" y="39504"/>
                    <a:pt x="98783" y="39504"/>
                    <a:pt x="98783" y="65841"/>
                  </a:cubicBezTo>
                  <a:cubicBezTo>
                    <a:pt x="98783" y="65841"/>
                    <a:pt x="98783" y="65841"/>
                    <a:pt x="69850" y="65841"/>
                  </a:cubicBezTo>
                  <a:cubicBezTo>
                    <a:pt x="69850" y="65841"/>
                    <a:pt x="69850" y="65841"/>
                    <a:pt x="69850" y="34237"/>
                  </a:cubicBezTo>
                  <a:cubicBezTo>
                    <a:pt x="69850" y="15802"/>
                    <a:pt x="84317" y="0"/>
                    <a:pt x="1027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lIns="91440" tIns="45720" rIns="91440" bIns="45720" anchor="ctr"/>
            <a:lstStyle/>
            <a:p>
              <a:pPr algn="ctr"/>
              <a:endParaRPr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280E4FD9-FDC3-4E46-B799-B83FCD81C8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6012" y="1763668"/>
              <a:ext cx="511496" cy="432251"/>
            </a:xfrm>
            <a:custGeom>
              <a:avLst/>
              <a:gdLst>
                <a:gd name="connsiteX0" fmla="*/ 46038 w 338138"/>
                <a:gd name="connsiteY0" fmla="*/ 261938 h 285751"/>
                <a:gd name="connsiteX1" fmla="*/ 38100 w 338138"/>
                <a:gd name="connsiteY1" fmla="*/ 270670 h 285751"/>
                <a:gd name="connsiteX2" fmla="*/ 46038 w 338138"/>
                <a:gd name="connsiteY2" fmla="*/ 279402 h 285751"/>
                <a:gd name="connsiteX3" fmla="*/ 53976 w 338138"/>
                <a:gd name="connsiteY3" fmla="*/ 270670 h 285751"/>
                <a:gd name="connsiteX4" fmla="*/ 46038 w 338138"/>
                <a:gd name="connsiteY4" fmla="*/ 261938 h 285751"/>
                <a:gd name="connsiteX5" fmla="*/ 288131 w 338138"/>
                <a:gd name="connsiteY5" fmla="*/ 184150 h 285751"/>
                <a:gd name="connsiteX6" fmla="*/ 277812 w 338138"/>
                <a:gd name="connsiteY6" fmla="*/ 194469 h 285751"/>
                <a:gd name="connsiteX7" fmla="*/ 288131 w 338138"/>
                <a:gd name="connsiteY7" fmla="*/ 204788 h 285751"/>
                <a:gd name="connsiteX8" fmla="*/ 298450 w 338138"/>
                <a:gd name="connsiteY8" fmla="*/ 194469 h 285751"/>
                <a:gd name="connsiteX9" fmla="*/ 288131 w 338138"/>
                <a:gd name="connsiteY9" fmla="*/ 184150 h 285751"/>
                <a:gd name="connsiteX10" fmla="*/ 19050 w 338138"/>
                <a:gd name="connsiteY10" fmla="*/ 165100 h 285751"/>
                <a:gd name="connsiteX11" fmla="*/ 19050 w 338138"/>
                <a:gd name="connsiteY11" fmla="*/ 242888 h 285751"/>
                <a:gd name="connsiteX12" fmla="*/ 73025 w 338138"/>
                <a:gd name="connsiteY12" fmla="*/ 242888 h 285751"/>
                <a:gd name="connsiteX13" fmla="*/ 73025 w 338138"/>
                <a:gd name="connsiteY13" fmla="*/ 165100 h 285751"/>
                <a:gd name="connsiteX14" fmla="*/ 12010 w 338138"/>
                <a:gd name="connsiteY14" fmla="*/ 141288 h 285751"/>
                <a:gd name="connsiteX15" fmla="*/ 81400 w 338138"/>
                <a:gd name="connsiteY15" fmla="*/ 141288 h 285751"/>
                <a:gd name="connsiteX16" fmla="*/ 92075 w 338138"/>
                <a:gd name="connsiteY16" fmla="*/ 153107 h 285751"/>
                <a:gd name="connsiteX17" fmla="*/ 92075 w 338138"/>
                <a:gd name="connsiteY17" fmla="*/ 273932 h 285751"/>
                <a:gd name="connsiteX18" fmla="*/ 81400 w 338138"/>
                <a:gd name="connsiteY18" fmla="*/ 285751 h 285751"/>
                <a:gd name="connsiteX19" fmla="*/ 12010 w 338138"/>
                <a:gd name="connsiteY19" fmla="*/ 285751 h 285751"/>
                <a:gd name="connsiteX20" fmla="*/ 0 w 338138"/>
                <a:gd name="connsiteY20" fmla="*/ 273932 h 285751"/>
                <a:gd name="connsiteX21" fmla="*/ 0 w 338138"/>
                <a:gd name="connsiteY21" fmla="*/ 153107 h 285751"/>
                <a:gd name="connsiteX22" fmla="*/ 12010 w 338138"/>
                <a:gd name="connsiteY22" fmla="*/ 141288 h 285751"/>
                <a:gd name="connsiteX23" fmla="*/ 55002 w 338138"/>
                <a:gd name="connsiteY23" fmla="*/ 82550 h 285751"/>
                <a:gd name="connsiteX24" fmla="*/ 175185 w 338138"/>
                <a:gd name="connsiteY24" fmla="*/ 82550 h 285751"/>
                <a:gd name="connsiteX25" fmla="*/ 193675 w 338138"/>
                <a:gd name="connsiteY25" fmla="*/ 99703 h 285751"/>
                <a:gd name="connsiteX26" fmla="*/ 193675 w 338138"/>
                <a:gd name="connsiteY26" fmla="*/ 268597 h 285751"/>
                <a:gd name="connsiteX27" fmla="*/ 175185 w 338138"/>
                <a:gd name="connsiteY27" fmla="*/ 285750 h 285751"/>
                <a:gd name="connsiteX28" fmla="*/ 107830 w 338138"/>
                <a:gd name="connsiteY28" fmla="*/ 285750 h 285751"/>
                <a:gd name="connsiteX29" fmla="*/ 109151 w 338138"/>
                <a:gd name="connsiteY29" fmla="*/ 276514 h 285751"/>
                <a:gd name="connsiteX30" fmla="*/ 109151 w 338138"/>
                <a:gd name="connsiteY30" fmla="*/ 273875 h 285751"/>
                <a:gd name="connsiteX31" fmla="*/ 115754 w 338138"/>
                <a:gd name="connsiteY31" fmla="*/ 275194 h 285751"/>
                <a:gd name="connsiteX32" fmla="*/ 124999 w 338138"/>
                <a:gd name="connsiteY32" fmla="*/ 264639 h 285751"/>
                <a:gd name="connsiteX33" fmla="*/ 115754 w 338138"/>
                <a:gd name="connsiteY33" fmla="*/ 254083 h 285751"/>
                <a:gd name="connsiteX34" fmla="*/ 109151 w 338138"/>
                <a:gd name="connsiteY34" fmla="*/ 256722 h 285751"/>
                <a:gd name="connsiteX35" fmla="*/ 109151 w 338138"/>
                <a:gd name="connsiteY35" fmla="*/ 235610 h 285751"/>
                <a:gd name="connsiteX36" fmla="*/ 168582 w 338138"/>
                <a:gd name="connsiteY36" fmla="*/ 235610 h 285751"/>
                <a:gd name="connsiteX37" fmla="*/ 168582 w 338138"/>
                <a:gd name="connsiteY37" fmla="*/ 110259 h 285751"/>
                <a:gd name="connsiteX38" fmla="*/ 61606 w 338138"/>
                <a:gd name="connsiteY38" fmla="*/ 110259 h 285751"/>
                <a:gd name="connsiteX39" fmla="*/ 61606 w 338138"/>
                <a:gd name="connsiteY39" fmla="*/ 126093 h 285751"/>
                <a:gd name="connsiteX40" fmla="*/ 36512 w 338138"/>
                <a:gd name="connsiteY40" fmla="*/ 126093 h 285751"/>
                <a:gd name="connsiteX41" fmla="*/ 36512 w 338138"/>
                <a:gd name="connsiteY41" fmla="*/ 99703 h 285751"/>
                <a:gd name="connsiteX42" fmla="*/ 55002 w 338138"/>
                <a:gd name="connsiteY42" fmla="*/ 82550 h 285751"/>
                <a:gd name="connsiteX43" fmla="*/ 102729 w 338138"/>
                <a:gd name="connsiteY43" fmla="*/ 0 h 285751"/>
                <a:gd name="connsiteX44" fmla="*/ 305260 w 338138"/>
                <a:gd name="connsiteY44" fmla="*/ 0 h 285751"/>
                <a:gd name="connsiteX45" fmla="*/ 338138 w 338138"/>
                <a:gd name="connsiteY45" fmla="*/ 34237 h 285751"/>
                <a:gd name="connsiteX46" fmla="*/ 338138 w 338138"/>
                <a:gd name="connsiteY46" fmla="*/ 188306 h 285751"/>
                <a:gd name="connsiteX47" fmla="*/ 305260 w 338138"/>
                <a:gd name="connsiteY47" fmla="*/ 221226 h 285751"/>
                <a:gd name="connsiteX48" fmla="*/ 234242 w 338138"/>
                <a:gd name="connsiteY48" fmla="*/ 221226 h 285751"/>
                <a:gd name="connsiteX49" fmla="*/ 234242 w 338138"/>
                <a:gd name="connsiteY49" fmla="*/ 243612 h 285751"/>
                <a:gd name="connsiteX50" fmla="*/ 265806 w 338138"/>
                <a:gd name="connsiteY50" fmla="*/ 243612 h 285751"/>
                <a:gd name="connsiteX51" fmla="*/ 277642 w 338138"/>
                <a:gd name="connsiteY51" fmla="*/ 256780 h 285751"/>
                <a:gd name="connsiteX52" fmla="*/ 277642 w 338138"/>
                <a:gd name="connsiteY52" fmla="*/ 272582 h 285751"/>
                <a:gd name="connsiteX53" fmla="*/ 265806 w 338138"/>
                <a:gd name="connsiteY53" fmla="*/ 285750 h 285751"/>
                <a:gd name="connsiteX54" fmla="*/ 205309 w 338138"/>
                <a:gd name="connsiteY54" fmla="*/ 285750 h 285751"/>
                <a:gd name="connsiteX55" fmla="*/ 210570 w 338138"/>
                <a:gd name="connsiteY55" fmla="*/ 269948 h 285751"/>
                <a:gd name="connsiteX56" fmla="*/ 210570 w 338138"/>
                <a:gd name="connsiteY56" fmla="*/ 213325 h 285751"/>
                <a:gd name="connsiteX57" fmla="*/ 210570 w 338138"/>
                <a:gd name="connsiteY57" fmla="*/ 172504 h 285751"/>
                <a:gd name="connsiteX58" fmla="*/ 296054 w 338138"/>
                <a:gd name="connsiteY58" fmla="*/ 172504 h 285751"/>
                <a:gd name="connsiteX59" fmla="*/ 309205 w 338138"/>
                <a:gd name="connsiteY59" fmla="*/ 159335 h 285751"/>
                <a:gd name="connsiteX60" fmla="*/ 309205 w 338138"/>
                <a:gd name="connsiteY60" fmla="*/ 39504 h 285751"/>
                <a:gd name="connsiteX61" fmla="*/ 296054 w 338138"/>
                <a:gd name="connsiteY61" fmla="*/ 27653 h 285751"/>
                <a:gd name="connsiteX62" fmla="*/ 110620 w 338138"/>
                <a:gd name="connsiteY62" fmla="*/ 27653 h 285751"/>
                <a:gd name="connsiteX63" fmla="*/ 98783 w 338138"/>
                <a:gd name="connsiteY63" fmla="*/ 39504 h 285751"/>
                <a:gd name="connsiteX64" fmla="*/ 98783 w 338138"/>
                <a:gd name="connsiteY64" fmla="*/ 65841 h 285751"/>
                <a:gd name="connsiteX65" fmla="*/ 69850 w 338138"/>
                <a:gd name="connsiteY65" fmla="*/ 65841 h 285751"/>
                <a:gd name="connsiteX66" fmla="*/ 69850 w 338138"/>
                <a:gd name="connsiteY66" fmla="*/ 34237 h 285751"/>
                <a:gd name="connsiteX67" fmla="*/ 102729 w 338138"/>
                <a:gd name="connsiteY67" fmla="*/ 0 h 28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38138" h="285751">
                  <a:moveTo>
                    <a:pt x="46038" y="261938"/>
                  </a:moveTo>
                  <a:cubicBezTo>
                    <a:pt x="41654" y="261938"/>
                    <a:pt x="38100" y="265847"/>
                    <a:pt x="38100" y="270670"/>
                  </a:cubicBezTo>
                  <a:cubicBezTo>
                    <a:pt x="38100" y="275493"/>
                    <a:pt x="41654" y="279402"/>
                    <a:pt x="46038" y="279402"/>
                  </a:cubicBezTo>
                  <a:cubicBezTo>
                    <a:pt x="50422" y="279402"/>
                    <a:pt x="53976" y="275493"/>
                    <a:pt x="53976" y="270670"/>
                  </a:cubicBezTo>
                  <a:cubicBezTo>
                    <a:pt x="53976" y="265847"/>
                    <a:pt x="50422" y="261938"/>
                    <a:pt x="46038" y="261938"/>
                  </a:cubicBezTo>
                  <a:close/>
                  <a:moveTo>
                    <a:pt x="288131" y="184150"/>
                  </a:moveTo>
                  <a:cubicBezTo>
                    <a:pt x="282432" y="184150"/>
                    <a:pt x="277812" y="188770"/>
                    <a:pt x="277812" y="194469"/>
                  </a:cubicBezTo>
                  <a:cubicBezTo>
                    <a:pt x="277812" y="200168"/>
                    <a:pt x="282432" y="204788"/>
                    <a:pt x="288131" y="204788"/>
                  </a:cubicBezTo>
                  <a:cubicBezTo>
                    <a:pt x="293830" y="204788"/>
                    <a:pt x="298450" y="200168"/>
                    <a:pt x="298450" y="194469"/>
                  </a:cubicBezTo>
                  <a:cubicBezTo>
                    <a:pt x="298450" y="188770"/>
                    <a:pt x="293830" y="184150"/>
                    <a:pt x="288131" y="184150"/>
                  </a:cubicBezTo>
                  <a:close/>
                  <a:moveTo>
                    <a:pt x="19050" y="165100"/>
                  </a:moveTo>
                  <a:lnTo>
                    <a:pt x="19050" y="242888"/>
                  </a:lnTo>
                  <a:lnTo>
                    <a:pt x="73025" y="242888"/>
                  </a:lnTo>
                  <a:lnTo>
                    <a:pt x="73025" y="165100"/>
                  </a:lnTo>
                  <a:close/>
                  <a:moveTo>
                    <a:pt x="12010" y="141288"/>
                  </a:moveTo>
                  <a:cubicBezTo>
                    <a:pt x="12010" y="141288"/>
                    <a:pt x="12010" y="141288"/>
                    <a:pt x="81400" y="141288"/>
                  </a:cubicBezTo>
                  <a:cubicBezTo>
                    <a:pt x="86738" y="141288"/>
                    <a:pt x="92075" y="146541"/>
                    <a:pt x="92075" y="153107"/>
                  </a:cubicBezTo>
                  <a:cubicBezTo>
                    <a:pt x="92075" y="153107"/>
                    <a:pt x="92075" y="153107"/>
                    <a:pt x="92075" y="273932"/>
                  </a:cubicBezTo>
                  <a:cubicBezTo>
                    <a:pt x="92075" y="280498"/>
                    <a:pt x="86738" y="285751"/>
                    <a:pt x="81400" y="285751"/>
                  </a:cubicBezTo>
                  <a:cubicBezTo>
                    <a:pt x="81400" y="285751"/>
                    <a:pt x="81400" y="285751"/>
                    <a:pt x="12010" y="285751"/>
                  </a:cubicBezTo>
                  <a:cubicBezTo>
                    <a:pt x="5337" y="285751"/>
                    <a:pt x="0" y="280498"/>
                    <a:pt x="0" y="273932"/>
                  </a:cubicBezTo>
                  <a:cubicBezTo>
                    <a:pt x="0" y="273932"/>
                    <a:pt x="0" y="273932"/>
                    <a:pt x="0" y="153107"/>
                  </a:cubicBezTo>
                  <a:cubicBezTo>
                    <a:pt x="0" y="146541"/>
                    <a:pt x="5337" y="141288"/>
                    <a:pt x="12010" y="141288"/>
                  </a:cubicBezTo>
                  <a:close/>
                  <a:moveTo>
                    <a:pt x="55002" y="82550"/>
                  </a:moveTo>
                  <a:cubicBezTo>
                    <a:pt x="55002" y="82550"/>
                    <a:pt x="55002" y="82550"/>
                    <a:pt x="175185" y="82550"/>
                  </a:cubicBezTo>
                  <a:cubicBezTo>
                    <a:pt x="185751" y="82550"/>
                    <a:pt x="193675" y="90467"/>
                    <a:pt x="193675" y="99703"/>
                  </a:cubicBezTo>
                  <a:cubicBezTo>
                    <a:pt x="193675" y="99703"/>
                    <a:pt x="193675" y="99703"/>
                    <a:pt x="193675" y="268597"/>
                  </a:cubicBezTo>
                  <a:cubicBezTo>
                    <a:pt x="193675" y="277833"/>
                    <a:pt x="185751" y="285750"/>
                    <a:pt x="175185" y="285750"/>
                  </a:cubicBezTo>
                  <a:cubicBezTo>
                    <a:pt x="175185" y="285750"/>
                    <a:pt x="175185" y="285750"/>
                    <a:pt x="107830" y="285750"/>
                  </a:cubicBezTo>
                  <a:cubicBezTo>
                    <a:pt x="109151" y="283111"/>
                    <a:pt x="109151" y="280472"/>
                    <a:pt x="109151" y="276514"/>
                  </a:cubicBezTo>
                  <a:cubicBezTo>
                    <a:pt x="109151" y="276514"/>
                    <a:pt x="109151" y="276514"/>
                    <a:pt x="109151" y="273875"/>
                  </a:cubicBezTo>
                  <a:cubicBezTo>
                    <a:pt x="110471" y="273875"/>
                    <a:pt x="113113" y="275194"/>
                    <a:pt x="115754" y="275194"/>
                  </a:cubicBezTo>
                  <a:cubicBezTo>
                    <a:pt x="121037" y="275194"/>
                    <a:pt x="124999" y="271236"/>
                    <a:pt x="124999" y="264639"/>
                  </a:cubicBezTo>
                  <a:cubicBezTo>
                    <a:pt x="124999" y="259361"/>
                    <a:pt x="121037" y="254083"/>
                    <a:pt x="115754" y="254083"/>
                  </a:cubicBezTo>
                  <a:cubicBezTo>
                    <a:pt x="113113" y="254083"/>
                    <a:pt x="110471" y="255402"/>
                    <a:pt x="109151" y="256722"/>
                  </a:cubicBezTo>
                  <a:cubicBezTo>
                    <a:pt x="109151" y="256722"/>
                    <a:pt x="109151" y="256722"/>
                    <a:pt x="109151" y="235610"/>
                  </a:cubicBezTo>
                  <a:cubicBezTo>
                    <a:pt x="109151" y="235610"/>
                    <a:pt x="109151" y="235610"/>
                    <a:pt x="168582" y="235610"/>
                  </a:cubicBezTo>
                  <a:cubicBezTo>
                    <a:pt x="168582" y="235610"/>
                    <a:pt x="168582" y="235610"/>
                    <a:pt x="168582" y="110259"/>
                  </a:cubicBezTo>
                  <a:cubicBezTo>
                    <a:pt x="168582" y="110259"/>
                    <a:pt x="168582" y="110259"/>
                    <a:pt x="61606" y="110259"/>
                  </a:cubicBezTo>
                  <a:cubicBezTo>
                    <a:pt x="61606" y="110259"/>
                    <a:pt x="61606" y="110259"/>
                    <a:pt x="61606" y="126093"/>
                  </a:cubicBezTo>
                  <a:cubicBezTo>
                    <a:pt x="61606" y="126093"/>
                    <a:pt x="61606" y="126093"/>
                    <a:pt x="36512" y="126093"/>
                  </a:cubicBezTo>
                  <a:cubicBezTo>
                    <a:pt x="36512" y="126093"/>
                    <a:pt x="36512" y="126093"/>
                    <a:pt x="36512" y="99703"/>
                  </a:cubicBezTo>
                  <a:cubicBezTo>
                    <a:pt x="36512" y="90467"/>
                    <a:pt x="45757" y="82550"/>
                    <a:pt x="55002" y="82550"/>
                  </a:cubicBezTo>
                  <a:close/>
                  <a:moveTo>
                    <a:pt x="102729" y="0"/>
                  </a:moveTo>
                  <a:cubicBezTo>
                    <a:pt x="102729" y="0"/>
                    <a:pt x="102729" y="0"/>
                    <a:pt x="305260" y="0"/>
                  </a:cubicBezTo>
                  <a:cubicBezTo>
                    <a:pt x="323672" y="0"/>
                    <a:pt x="338138" y="15802"/>
                    <a:pt x="338138" y="34237"/>
                  </a:cubicBezTo>
                  <a:cubicBezTo>
                    <a:pt x="338138" y="34237"/>
                    <a:pt x="338138" y="34237"/>
                    <a:pt x="338138" y="188306"/>
                  </a:cubicBezTo>
                  <a:cubicBezTo>
                    <a:pt x="338138" y="206741"/>
                    <a:pt x="323672" y="221226"/>
                    <a:pt x="305260" y="221226"/>
                  </a:cubicBezTo>
                  <a:cubicBezTo>
                    <a:pt x="305260" y="221226"/>
                    <a:pt x="305260" y="221226"/>
                    <a:pt x="234242" y="221226"/>
                  </a:cubicBezTo>
                  <a:cubicBezTo>
                    <a:pt x="234242" y="221226"/>
                    <a:pt x="234242" y="221226"/>
                    <a:pt x="234242" y="243612"/>
                  </a:cubicBezTo>
                  <a:cubicBezTo>
                    <a:pt x="234242" y="243612"/>
                    <a:pt x="234242" y="243612"/>
                    <a:pt x="265806" y="243612"/>
                  </a:cubicBezTo>
                  <a:cubicBezTo>
                    <a:pt x="272381" y="243612"/>
                    <a:pt x="277642" y="250196"/>
                    <a:pt x="277642" y="256780"/>
                  </a:cubicBezTo>
                  <a:cubicBezTo>
                    <a:pt x="277642" y="256780"/>
                    <a:pt x="277642" y="256780"/>
                    <a:pt x="277642" y="272582"/>
                  </a:cubicBezTo>
                  <a:cubicBezTo>
                    <a:pt x="277642" y="280483"/>
                    <a:pt x="272381" y="285750"/>
                    <a:pt x="265806" y="285750"/>
                  </a:cubicBezTo>
                  <a:cubicBezTo>
                    <a:pt x="265806" y="285750"/>
                    <a:pt x="265806" y="285750"/>
                    <a:pt x="205309" y="285750"/>
                  </a:cubicBezTo>
                  <a:cubicBezTo>
                    <a:pt x="207940" y="280483"/>
                    <a:pt x="209255" y="275216"/>
                    <a:pt x="210570" y="269948"/>
                  </a:cubicBezTo>
                  <a:cubicBezTo>
                    <a:pt x="210570" y="268632"/>
                    <a:pt x="210570" y="213325"/>
                    <a:pt x="210570" y="213325"/>
                  </a:cubicBezTo>
                  <a:cubicBezTo>
                    <a:pt x="210570" y="213325"/>
                    <a:pt x="210570" y="213325"/>
                    <a:pt x="210570" y="172504"/>
                  </a:cubicBezTo>
                  <a:cubicBezTo>
                    <a:pt x="210570" y="172504"/>
                    <a:pt x="210570" y="172504"/>
                    <a:pt x="296054" y="172504"/>
                  </a:cubicBezTo>
                  <a:cubicBezTo>
                    <a:pt x="303945" y="172504"/>
                    <a:pt x="309205" y="165920"/>
                    <a:pt x="309205" y="159335"/>
                  </a:cubicBezTo>
                  <a:cubicBezTo>
                    <a:pt x="309205" y="159335"/>
                    <a:pt x="309205" y="159335"/>
                    <a:pt x="309205" y="39504"/>
                  </a:cubicBezTo>
                  <a:cubicBezTo>
                    <a:pt x="309205" y="32920"/>
                    <a:pt x="303945" y="27653"/>
                    <a:pt x="296054" y="27653"/>
                  </a:cubicBezTo>
                  <a:cubicBezTo>
                    <a:pt x="296054" y="27653"/>
                    <a:pt x="296054" y="27653"/>
                    <a:pt x="110620" y="27653"/>
                  </a:cubicBezTo>
                  <a:cubicBezTo>
                    <a:pt x="104044" y="27653"/>
                    <a:pt x="98783" y="32920"/>
                    <a:pt x="98783" y="39504"/>
                  </a:cubicBezTo>
                  <a:cubicBezTo>
                    <a:pt x="98783" y="39504"/>
                    <a:pt x="98783" y="39504"/>
                    <a:pt x="98783" y="65841"/>
                  </a:cubicBezTo>
                  <a:cubicBezTo>
                    <a:pt x="98783" y="65841"/>
                    <a:pt x="98783" y="65841"/>
                    <a:pt x="69850" y="65841"/>
                  </a:cubicBezTo>
                  <a:cubicBezTo>
                    <a:pt x="69850" y="65841"/>
                    <a:pt x="69850" y="65841"/>
                    <a:pt x="69850" y="34237"/>
                  </a:cubicBezTo>
                  <a:cubicBezTo>
                    <a:pt x="69850" y="15802"/>
                    <a:pt x="84317" y="0"/>
                    <a:pt x="1027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lIns="91440" tIns="45720" rIns="91440" bIns="45720" anchor="ctr"/>
            <a:lstStyle/>
            <a:p>
              <a:pPr algn="ctr"/>
              <a:endParaRPr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5093BC1F-6642-4757-A2D7-C445907CB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9576" y="2192590"/>
              <a:ext cx="456434" cy="385719"/>
            </a:xfrm>
            <a:custGeom>
              <a:avLst/>
              <a:gdLst>
                <a:gd name="connsiteX0" fmla="*/ 46038 w 338138"/>
                <a:gd name="connsiteY0" fmla="*/ 261938 h 285751"/>
                <a:gd name="connsiteX1" fmla="*/ 38100 w 338138"/>
                <a:gd name="connsiteY1" fmla="*/ 270670 h 285751"/>
                <a:gd name="connsiteX2" fmla="*/ 46038 w 338138"/>
                <a:gd name="connsiteY2" fmla="*/ 279402 h 285751"/>
                <a:gd name="connsiteX3" fmla="*/ 53976 w 338138"/>
                <a:gd name="connsiteY3" fmla="*/ 270670 h 285751"/>
                <a:gd name="connsiteX4" fmla="*/ 46038 w 338138"/>
                <a:gd name="connsiteY4" fmla="*/ 261938 h 285751"/>
                <a:gd name="connsiteX5" fmla="*/ 288131 w 338138"/>
                <a:gd name="connsiteY5" fmla="*/ 184150 h 285751"/>
                <a:gd name="connsiteX6" fmla="*/ 277812 w 338138"/>
                <a:gd name="connsiteY6" fmla="*/ 194469 h 285751"/>
                <a:gd name="connsiteX7" fmla="*/ 288131 w 338138"/>
                <a:gd name="connsiteY7" fmla="*/ 204788 h 285751"/>
                <a:gd name="connsiteX8" fmla="*/ 298450 w 338138"/>
                <a:gd name="connsiteY8" fmla="*/ 194469 h 285751"/>
                <a:gd name="connsiteX9" fmla="*/ 288131 w 338138"/>
                <a:gd name="connsiteY9" fmla="*/ 184150 h 285751"/>
                <a:gd name="connsiteX10" fmla="*/ 19050 w 338138"/>
                <a:gd name="connsiteY10" fmla="*/ 165100 h 285751"/>
                <a:gd name="connsiteX11" fmla="*/ 19050 w 338138"/>
                <a:gd name="connsiteY11" fmla="*/ 242888 h 285751"/>
                <a:gd name="connsiteX12" fmla="*/ 73025 w 338138"/>
                <a:gd name="connsiteY12" fmla="*/ 242888 h 285751"/>
                <a:gd name="connsiteX13" fmla="*/ 73025 w 338138"/>
                <a:gd name="connsiteY13" fmla="*/ 165100 h 285751"/>
                <a:gd name="connsiteX14" fmla="*/ 12010 w 338138"/>
                <a:gd name="connsiteY14" fmla="*/ 141288 h 285751"/>
                <a:gd name="connsiteX15" fmla="*/ 81400 w 338138"/>
                <a:gd name="connsiteY15" fmla="*/ 141288 h 285751"/>
                <a:gd name="connsiteX16" fmla="*/ 92075 w 338138"/>
                <a:gd name="connsiteY16" fmla="*/ 153107 h 285751"/>
                <a:gd name="connsiteX17" fmla="*/ 92075 w 338138"/>
                <a:gd name="connsiteY17" fmla="*/ 273932 h 285751"/>
                <a:gd name="connsiteX18" fmla="*/ 81400 w 338138"/>
                <a:gd name="connsiteY18" fmla="*/ 285751 h 285751"/>
                <a:gd name="connsiteX19" fmla="*/ 12010 w 338138"/>
                <a:gd name="connsiteY19" fmla="*/ 285751 h 285751"/>
                <a:gd name="connsiteX20" fmla="*/ 0 w 338138"/>
                <a:gd name="connsiteY20" fmla="*/ 273932 h 285751"/>
                <a:gd name="connsiteX21" fmla="*/ 0 w 338138"/>
                <a:gd name="connsiteY21" fmla="*/ 153107 h 285751"/>
                <a:gd name="connsiteX22" fmla="*/ 12010 w 338138"/>
                <a:gd name="connsiteY22" fmla="*/ 141288 h 285751"/>
                <a:gd name="connsiteX23" fmla="*/ 55002 w 338138"/>
                <a:gd name="connsiteY23" fmla="*/ 82550 h 285751"/>
                <a:gd name="connsiteX24" fmla="*/ 175185 w 338138"/>
                <a:gd name="connsiteY24" fmla="*/ 82550 h 285751"/>
                <a:gd name="connsiteX25" fmla="*/ 193675 w 338138"/>
                <a:gd name="connsiteY25" fmla="*/ 99703 h 285751"/>
                <a:gd name="connsiteX26" fmla="*/ 193675 w 338138"/>
                <a:gd name="connsiteY26" fmla="*/ 268597 h 285751"/>
                <a:gd name="connsiteX27" fmla="*/ 175185 w 338138"/>
                <a:gd name="connsiteY27" fmla="*/ 285750 h 285751"/>
                <a:gd name="connsiteX28" fmla="*/ 107830 w 338138"/>
                <a:gd name="connsiteY28" fmla="*/ 285750 h 285751"/>
                <a:gd name="connsiteX29" fmla="*/ 109151 w 338138"/>
                <a:gd name="connsiteY29" fmla="*/ 276514 h 285751"/>
                <a:gd name="connsiteX30" fmla="*/ 109151 w 338138"/>
                <a:gd name="connsiteY30" fmla="*/ 273875 h 285751"/>
                <a:gd name="connsiteX31" fmla="*/ 115754 w 338138"/>
                <a:gd name="connsiteY31" fmla="*/ 275194 h 285751"/>
                <a:gd name="connsiteX32" fmla="*/ 124999 w 338138"/>
                <a:gd name="connsiteY32" fmla="*/ 264639 h 285751"/>
                <a:gd name="connsiteX33" fmla="*/ 115754 w 338138"/>
                <a:gd name="connsiteY33" fmla="*/ 254083 h 285751"/>
                <a:gd name="connsiteX34" fmla="*/ 109151 w 338138"/>
                <a:gd name="connsiteY34" fmla="*/ 256722 h 285751"/>
                <a:gd name="connsiteX35" fmla="*/ 109151 w 338138"/>
                <a:gd name="connsiteY35" fmla="*/ 235610 h 285751"/>
                <a:gd name="connsiteX36" fmla="*/ 168582 w 338138"/>
                <a:gd name="connsiteY36" fmla="*/ 235610 h 285751"/>
                <a:gd name="connsiteX37" fmla="*/ 168582 w 338138"/>
                <a:gd name="connsiteY37" fmla="*/ 110259 h 285751"/>
                <a:gd name="connsiteX38" fmla="*/ 61606 w 338138"/>
                <a:gd name="connsiteY38" fmla="*/ 110259 h 285751"/>
                <a:gd name="connsiteX39" fmla="*/ 61606 w 338138"/>
                <a:gd name="connsiteY39" fmla="*/ 126093 h 285751"/>
                <a:gd name="connsiteX40" fmla="*/ 36512 w 338138"/>
                <a:gd name="connsiteY40" fmla="*/ 126093 h 285751"/>
                <a:gd name="connsiteX41" fmla="*/ 36512 w 338138"/>
                <a:gd name="connsiteY41" fmla="*/ 99703 h 285751"/>
                <a:gd name="connsiteX42" fmla="*/ 55002 w 338138"/>
                <a:gd name="connsiteY42" fmla="*/ 82550 h 285751"/>
                <a:gd name="connsiteX43" fmla="*/ 102729 w 338138"/>
                <a:gd name="connsiteY43" fmla="*/ 0 h 285751"/>
                <a:gd name="connsiteX44" fmla="*/ 305260 w 338138"/>
                <a:gd name="connsiteY44" fmla="*/ 0 h 285751"/>
                <a:gd name="connsiteX45" fmla="*/ 338138 w 338138"/>
                <a:gd name="connsiteY45" fmla="*/ 34237 h 285751"/>
                <a:gd name="connsiteX46" fmla="*/ 338138 w 338138"/>
                <a:gd name="connsiteY46" fmla="*/ 188306 h 285751"/>
                <a:gd name="connsiteX47" fmla="*/ 305260 w 338138"/>
                <a:gd name="connsiteY47" fmla="*/ 221226 h 285751"/>
                <a:gd name="connsiteX48" fmla="*/ 234242 w 338138"/>
                <a:gd name="connsiteY48" fmla="*/ 221226 h 285751"/>
                <a:gd name="connsiteX49" fmla="*/ 234242 w 338138"/>
                <a:gd name="connsiteY49" fmla="*/ 243612 h 285751"/>
                <a:gd name="connsiteX50" fmla="*/ 265806 w 338138"/>
                <a:gd name="connsiteY50" fmla="*/ 243612 h 285751"/>
                <a:gd name="connsiteX51" fmla="*/ 277642 w 338138"/>
                <a:gd name="connsiteY51" fmla="*/ 256780 h 285751"/>
                <a:gd name="connsiteX52" fmla="*/ 277642 w 338138"/>
                <a:gd name="connsiteY52" fmla="*/ 272582 h 285751"/>
                <a:gd name="connsiteX53" fmla="*/ 265806 w 338138"/>
                <a:gd name="connsiteY53" fmla="*/ 285750 h 285751"/>
                <a:gd name="connsiteX54" fmla="*/ 205309 w 338138"/>
                <a:gd name="connsiteY54" fmla="*/ 285750 h 285751"/>
                <a:gd name="connsiteX55" fmla="*/ 210570 w 338138"/>
                <a:gd name="connsiteY55" fmla="*/ 269948 h 285751"/>
                <a:gd name="connsiteX56" fmla="*/ 210570 w 338138"/>
                <a:gd name="connsiteY56" fmla="*/ 213325 h 285751"/>
                <a:gd name="connsiteX57" fmla="*/ 210570 w 338138"/>
                <a:gd name="connsiteY57" fmla="*/ 172504 h 285751"/>
                <a:gd name="connsiteX58" fmla="*/ 296054 w 338138"/>
                <a:gd name="connsiteY58" fmla="*/ 172504 h 285751"/>
                <a:gd name="connsiteX59" fmla="*/ 309205 w 338138"/>
                <a:gd name="connsiteY59" fmla="*/ 159335 h 285751"/>
                <a:gd name="connsiteX60" fmla="*/ 309205 w 338138"/>
                <a:gd name="connsiteY60" fmla="*/ 39504 h 285751"/>
                <a:gd name="connsiteX61" fmla="*/ 296054 w 338138"/>
                <a:gd name="connsiteY61" fmla="*/ 27653 h 285751"/>
                <a:gd name="connsiteX62" fmla="*/ 110620 w 338138"/>
                <a:gd name="connsiteY62" fmla="*/ 27653 h 285751"/>
                <a:gd name="connsiteX63" fmla="*/ 98783 w 338138"/>
                <a:gd name="connsiteY63" fmla="*/ 39504 h 285751"/>
                <a:gd name="connsiteX64" fmla="*/ 98783 w 338138"/>
                <a:gd name="connsiteY64" fmla="*/ 65841 h 285751"/>
                <a:gd name="connsiteX65" fmla="*/ 69850 w 338138"/>
                <a:gd name="connsiteY65" fmla="*/ 65841 h 285751"/>
                <a:gd name="connsiteX66" fmla="*/ 69850 w 338138"/>
                <a:gd name="connsiteY66" fmla="*/ 34237 h 285751"/>
                <a:gd name="connsiteX67" fmla="*/ 102729 w 338138"/>
                <a:gd name="connsiteY67" fmla="*/ 0 h 28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38138" h="285751">
                  <a:moveTo>
                    <a:pt x="46038" y="261938"/>
                  </a:moveTo>
                  <a:cubicBezTo>
                    <a:pt x="41654" y="261938"/>
                    <a:pt x="38100" y="265847"/>
                    <a:pt x="38100" y="270670"/>
                  </a:cubicBezTo>
                  <a:cubicBezTo>
                    <a:pt x="38100" y="275493"/>
                    <a:pt x="41654" y="279402"/>
                    <a:pt x="46038" y="279402"/>
                  </a:cubicBezTo>
                  <a:cubicBezTo>
                    <a:pt x="50422" y="279402"/>
                    <a:pt x="53976" y="275493"/>
                    <a:pt x="53976" y="270670"/>
                  </a:cubicBezTo>
                  <a:cubicBezTo>
                    <a:pt x="53976" y="265847"/>
                    <a:pt x="50422" y="261938"/>
                    <a:pt x="46038" y="261938"/>
                  </a:cubicBezTo>
                  <a:close/>
                  <a:moveTo>
                    <a:pt x="288131" y="184150"/>
                  </a:moveTo>
                  <a:cubicBezTo>
                    <a:pt x="282432" y="184150"/>
                    <a:pt x="277812" y="188770"/>
                    <a:pt x="277812" y="194469"/>
                  </a:cubicBezTo>
                  <a:cubicBezTo>
                    <a:pt x="277812" y="200168"/>
                    <a:pt x="282432" y="204788"/>
                    <a:pt x="288131" y="204788"/>
                  </a:cubicBezTo>
                  <a:cubicBezTo>
                    <a:pt x="293830" y="204788"/>
                    <a:pt x="298450" y="200168"/>
                    <a:pt x="298450" y="194469"/>
                  </a:cubicBezTo>
                  <a:cubicBezTo>
                    <a:pt x="298450" y="188770"/>
                    <a:pt x="293830" y="184150"/>
                    <a:pt x="288131" y="184150"/>
                  </a:cubicBezTo>
                  <a:close/>
                  <a:moveTo>
                    <a:pt x="19050" y="165100"/>
                  </a:moveTo>
                  <a:lnTo>
                    <a:pt x="19050" y="242888"/>
                  </a:lnTo>
                  <a:lnTo>
                    <a:pt x="73025" y="242888"/>
                  </a:lnTo>
                  <a:lnTo>
                    <a:pt x="73025" y="165100"/>
                  </a:lnTo>
                  <a:close/>
                  <a:moveTo>
                    <a:pt x="12010" y="141288"/>
                  </a:moveTo>
                  <a:cubicBezTo>
                    <a:pt x="12010" y="141288"/>
                    <a:pt x="12010" y="141288"/>
                    <a:pt x="81400" y="141288"/>
                  </a:cubicBezTo>
                  <a:cubicBezTo>
                    <a:pt x="86738" y="141288"/>
                    <a:pt x="92075" y="146541"/>
                    <a:pt x="92075" y="153107"/>
                  </a:cubicBezTo>
                  <a:cubicBezTo>
                    <a:pt x="92075" y="153107"/>
                    <a:pt x="92075" y="153107"/>
                    <a:pt x="92075" y="273932"/>
                  </a:cubicBezTo>
                  <a:cubicBezTo>
                    <a:pt x="92075" y="280498"/>
                    <a:pt x="86738" y="285751"/>
                    <a:pt x="81400" y="285751"/>
                  </a:cubicBezTo>
                  <a:cubicBezTo>
                    <a:pt x="81400" y="285751"/>
                    <a:pt x="81400" y="285751"/>
                    <a:pt x="12010" y="285751"/>
                  </a:cubicBezTo>
                  <a:cubicBezTo>
                    <a:pt x="5337" y="285751"/>
                    <a:pt x="0" y="280498"/>
                    <a:pt x="0" y="273932"/>
                  </a:cubicBezTo>
                  <a:cubicBezTo>
                    <a:pt x="0" y="273932"/>
                    <a:pt x="0" y="273932"/>
                    <a:pt x="0" y="153107"/>
                  </a:cubicBezTo>
                  <a:cubicBezTo>
                    <a:pt x="0" y="146541"/>
                    <a:pt x="5337" y="141288"/>
                    <a:pt x="12010" y="141288"/>
                  </a:cubicBezTo>
                  <a:close/>
                  <a:moveTo>
                    <a:pt x="55002" y="82550"/>
                  </a:moveTo>
                  <a:cubicBezTo>
                    <a:pt x="55002" y="82550"/>
                    <a:pt x="55002" y="82550"/>
                    <a:pt x="175185" y="82550"/>
                  </a:cubicBezTo>
                  <a:cubicBezTo>
                    <a:pt x="185751" y="82550"/>
                    <a:pt x="193675" y="90467"/>
                    <a:pt x="193675" y="99703"/>
                  </a:cubicBezTo>
                  <a:cubicBezTo>
                    <a:pt x="193675" y="99703"/>
                    <a:pt x="193675" y="99703"/>
                    <a:pt x="193675" y="268597"/>
                  </a:cubicBezTo>
                  <a:cubicBezTo>
                    <a:pt x="193675" y="277833"/>
                    <a:pt x="185751" y="285750"/>
                    <a:pt x="175185" y="285750"/>
                  </a:cubicBezTo>
                  <a:cubicBezTo>
                    <a:pt x="175185" y="285750"/>
                    <a:pt x="175185" y="285750"/>
                    <a:pt x="107830" y="285750"/>
                  </a:cubicBezTo>
                  <a:cubicBezTo>
                    <a:pt x="109151" y="283111"/>
                    <a:pt x="109151" y="280472"/>
                    <a:pt x="109151" y="276514"/>
                  </a:cubicBezTo>
                  <a:cubicBezTo>
                    <a:pt x="109151" y="276514"/>
                    <a:pt x="109151" y="276514"/>
                    <a:pt x="109151" y="273875"/>
                  </a:cubicBezTo>
                  <a:cubicBezTo>
                    <a:pt x="110471" y="273875"/>
                    <a:pt x="113113" y="275194"/>
                    <a:pt x="115754" y="275194"/>
                  </a:cubicBezTo>
                  <a:cubicBezTo>
                    <a:pt x="121037" y="275194"/>
                    <a:pt x="124999" y="271236"/>
                    <a:pt x="124999" y="264639"/>
                  </a:cubicBezTo>
                  <a:cubicBezTo>
                    <a:pt x="124999" y="259361"/>
                    <a:pt x="121037" y="254083"/>
                    <a:pt x="115754" y="254083"/>
                  </a:cubicBezTo>
                  <a:cubicBezTo>
                    <a:pt x="113113" y="254083"/>
                    <a:pt x="110471" y="255402"/>
                    <a:pt x="109151" y="256722"/>
                  </a:cubicBezTo>
                  <a:cubicBezTo>
                    <a:pt x="109151" y="256722"/>
                    <a:pt x="109151" y="256722"/>
                    <a:pt x="109151" y="235610"/>
                  </a:cubicBezTo>
                  <a:cubicBezTo>
                    <a:pt x="109151" y="235610"/>
                    <a:pt x="109151" y="235610"/>
                    <a:pt x="168582" y="235610"/>
                  </a:cubicBezTo>
                  <a:cubicBezTo>
                    <a:pt x="168582" y="235610"/>
                    <a:pt x="168582" y="235610"/>
                    <a:pt x="168582" y="110259"/>
                  </a:cubicBezTo>
                  <a:cubicBezTo>
                    <a:pt x="168582" y="110259"/>
                    <a:pt x="168582" y="110259"/>
                    <a:pt x="61606" y="110259"/>
                  </a:cubicBezTo>
                  <a:cubicBezTo>
                    <a:pt x="61606" y="110259"/>
                    <a:pt x="61606" y="110259"/>
                    <a:pt x="61606" y="126093"/>
                  </a:cubicBezTo>
                  <a:cubicBezTo>
                    <a:pt x="61606" y="126093"/>
                    <a:pt x="61606" y="126093"/>
                    <a:pt x="36512" y="126093"/>
                  </a:cubicBezTo>
                  <a:cubicBezTo>
                    <a:pt x="36512" y="126093"/>
                    <a:pt x="36512" y="126093"/>
                    <a:pt x="36512" y="99703"/>
                  </a:cubicBezTo>
                  <a:cubicBezTo>
                    <a:pt x="36512" y="90467"/>
                    <a:pt x="45757" y="82550"/>
                    <a:pt x="55002" y="82550"/>
                  </a:cubicBezTo>
                  <a:close/>
                  <a:moveTo>
                    <a:pt x="102729" y="0"/>
                  </a:moveTo>
                  <a:cubicBezTo>
                    <a:pt x="102729" y="0"/>
                    <a:pt x="102729" y="0"/>
                    <a:pt x="305260" y="0"/>
                  </a:cubicBezTo>
                  <a:cubicBezTo>
                    <a:pt x="323672" y="0"/>
                    <a:pt x="338138" y="15802"/>
                    <a:pt x="338138" y="34237"/>
                  </a:cubicBezTo>
                  <a:cubicBezTo>
                    <a:pt x="338138" y="34237"/>
                    <a:pt x="338138" y="34237"/>
                    <a:pt x="338138" y="188306"/>
                  </a:cubicBezTo>
                  <a:cubicBezTo>
                    <a:pt x="338138" y="206741"/>
                    <a:pt x="323672" y="221226"/>
                    <a:pt x="305260" y="221226"/>
                  </a:cubicBezTo>
                  <a:cubicBezTo>
                    <a:pt x="305260" y="221226"/>
                    <a:pt x="305260" y="221226"/>
                    <a:pt x="234242" y="221226"/>
                  </a:cubicBezTo>
                  <a:cubicBezTo>
                    <a:pt x="234242" y="221226"/>
                    <a:pt x="234242" y="221226"/>
                    <a:pt x="234242" y="243612"/>
                  </a:cubicBezTo>
                  <a:cubicBezTo>
                    <a:pt x="234242" y="243612"/>
                    <a:pt x="234242" y="243612"/>
                    <a:pt x="265806" y="243612"/>
                  </a:cubicBezTo>
                  <a:cubicBezTo>
                    <a:pt x="272381" y="243612"/>
                    <a:pt x="277642" y="250196"/>
                    <a:pt x="277642" y="256780"/>
                  </a:cubicBezTo>
                  <a:cubicBezTo>
                    <a:pt x="277642" y="256780"/>
                    <a:pt x="277642" y="256780"/>
                    <a:pt x="277642" y="272582"/>
                  </a:cubicBezTo>
                  <a:cubicBezTo>
                    <a:pt x="277642" y="280483"/>
                    <a:pt x="272381" y="285750"/>
                    <a:pt x="265806" y="285750"/>
                  </a:cubicBezTo>
                  <a:cubicBezTo>
                    <a:pt x="265806" y="285750"/>
                    <a:pt x="265806" y="285750"/>
                    <a:pt x="205309" y="285750"/>
                  </a:cubicBezTo>
                  <a:cubicBezTo>
                    <a:pt x="207940" y="280483"/>
                    <a:pt x="209255" y="275216"/>
                    <a:pt x="210570" y="269948"/>
                  </a:cubicBezTo>
                  <a:cubicBezTo>
                    <a:pt x="210570" y="268632"/>
                    <a:pt x="210570" y="213325"/>
                    <a:pt x="210570" y="213325"/>
                  </a:cubicBezTo>
                  <a:cubicBezTo>
                    <a:pt x="210570" y="213325"/>
                    <a:pt x="210570" y="213325"/>
                    <a:pt x="210570" y="172504"/>
                  </a:cubicBezTo>
                  <a:cubicBezTo>
                    <a:pt x="210570" y="172504"/>
                    <a:pt x="210570" y="172504"/>
                    <a:pt x="296054" y="172504"/>
                  </a:cubicBezTo>
                  <a:cubicBezTo>
                    <a:pt x="303945" y="172504"/>
                    <a:pt x="309205" y="165920"/>
                    <a:pt x="309205" y="159335"/>
                  </a:cubicBezTo>
                  <a:cubicBezTo>
                    <a:pt x="309205" y="159335"/>
                    <a:pt x="309205" y="159335"/>
                    <a:pt x="309205" y="39504"/>
                  </a:cubicBezTo>
                  <a:cubicBezTo>
                    <a:pt x="309205" y="32920"/>
                    <a:pt x="303945" y="27653"/>
                    <a:pt x="296054" y="27653"/>
                  </a:cubicBezTo>
                  <a:cubicBezTo>
                    <a:pt x="296054" y="27653"/>
                    <a:pt x="296054" y="27653"/>
                    <a:pt x="110620" y="27653"/>
                  </a:cubicBezTo>
                  <a:cubicBezTo>
                    <a:pt x="104044" y="27653"/>
                    <a:pt x="98783" y="32920"/>
                    <a:pt x="98783" y="39504"/>
                  </a:cubicBezTo>
                  <a:cubicBezTo>
                    <a:pt x="98783" y="39504"/>
                    <a:pt x="98783" y="39504"/>
                    <a:pt x="98783" y="65841"/>
                  </a:cubicBezTo>
                  <a:cubicBezTo>
                    <a:pt x="98783" y="65841"/>
                    <a:pt x="98783" y="65841"/>
                    <a:pt x="69850" y="65841"/>
                  </a:cubicBezTo>
                  <a:cubicBezTo>
                    <a:pt x="69850" y="65841"/>
                    <a:pt x="69850" y="65841"/>
                    <a:pt x="69850" y="34237"/>
                  </a:cubicBezTo>
                  <a:cubicBezTo>
                    <a:pt x="69850" y="15802"/>
                    <a:pt x="84317" y="0"/>
                    <a:pt x="1027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lIns="91440" tIns="45720" rIns="91440" bIns="45720" anchor="ctr"/>
            <a:lstStyle/>
            <a:p>
              <a:pPr algn="ctr"/>
              <a:endParaRPr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63B7B1D7-BB2C-4F0E-85FE-ED58EF8E18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96641" y="3892058"/>
              <a:ext cx="1081612" cy="914040"/>
            </a:xfrm>
            <a:custGeom>
              <a:avLst/>
              <a:gdLst>
                <a:gd name="connsiteX0" fmla="*/ 46038 w 338138"/>
                <a:gd name="connsiteY0" fmla="*/ 261938 h 285751"/>
                <a:gd name="connsiteX1" fmla="*/ 38100 w 338138"/>
                <a:gd name="connsiteY1" fmla="*/ 270670 h 285751"/>
                <a:gd name="connsiteX2" fmla="*/ 46038 w 338138"/>
                <a:gd name="connsiteY2" fmla="*/ 279402 h 285751"/>
                <a:gd name="connsiteX3" fmla="*/ 53976 w 338138"/>
                <a:gd name="connsiteY3" fmla="*/ 270670 h 285751"/>
                <a:gd name="connsiteX4" fmla="*/ 46038 w 338138"/>
                <a:gd name="connsiteY4" fmla="*/ 261938 h 285751"/>
                <a:gd name="connsiteX5" fmla="*/ 288131 w 338138"/>
                <a:gd name="connsiteY5" fmla="*/ 184150 h 285751"/>
                <a:gd name="connsiteX6" fmla="*/ 277812 w 338138"/>
                <a:gd name="connsiteY6" fmla="*/ 194469 h 285751"/>
                <a:gd name="connsiteX7" fmla="*/ 288131 w 338138"/>
                <a:gd name="connsiteY7" fmla="*/ 204788 h 285751"/>
                <a:gd name="connsiteX8" fmla="*/ 298450 w 338138"/>
                <a:gd name="connsiteY8" fmla="*/ 194469 h 285751"/>
                <a:gd name="connsiteX9" fmla="*/ 288131 w 338138"/>
                <a:gd name="connsiteY9" fmla="*/ 184150 h 285751"/>
                <a:gd name="connsiteX10" fmla="*/ 19050 w 338138"/>
                <a:gd name="connsiteY10" fmla="*/ 165100 h 285751"/>
                <a:gd name="connsiteX11" fmla="*/ 19050 w 338138"/>
                <a:gd name="connsiteY11" fmla="*/ 242888 h 285751"/>
                <a:gd name="connsiteX12" fmla="*/ 73025 w 338138"/>
                <a:gd name="connsiteY12" fmla="*/ 242888 h 285751"/>
                <a:gd name="connsiteX13" fmla="*/ 73025 w 338138"/>
                <a:gd name="connsiteY13" fmla="*/ 165100 h 285751"/>
                <a:gd name="connsiteX14" fmla="*/ 12010 w 338138"/>
                <a:gd name="connsiteY14" fmla="*/ 141288 h 285751"/>
                <a:gd name="connsiteX15" fmla="*/ 81400 w 338138"/>
                <a:gd name="connsiteY15" fmla="*/ 141288 h 285751"/>
                <a:gd name="connsiteX16" fmla="*/ 92075 w 338138"/>
                <a:gd name="connsiteY16" fmla="*/ 153107 h 285751"/>
                <a:gd name="connsiteX17" fmla="*/ 92075 w 338138"/>
                <a:gd name="connsiteY17" fmla="*/ 273932 h 285751"/>
                <a:gd name="connsiteX18" fmla="*/ 81400 w 338138"/>
                <a:gd name="connsiteY18" fmla="*/ 285751 h 285751"/>
                <a:gd name="connsiteX19" fmla="*/ 12010 w 338138"/>
                <a:gd name="connsiteY19" fmla="*/ 285751 h 285751"/>
                <a:gd name="connsiteX20" fmla="*/ 0 w 338138"/>
                <a:gd name="connsiteY20" fmla="*/ 273932 h 285751"/>
                <a:gd name="connsiteX21" fmla="*/ 0 w 338138"/>
                <a:gd name="connsiteY21" fmla="*/ 153107 h 285751"/>
                <a:gd name="connsiteX22" fmla="*/ 12010 w 338138"/>
                <a:gd name="connsiteY22" fmla="*/ 141288 h 285751"/>
                <a:gd name="connsiteX23" fmla="*/ 55002 w 338138"/>
                <a:gd name="connsiteY23" fmla="*/ 82550 h 285751"/>
                <a:gd name="connsiteX24" fmla="*/ 175185 w 338138"/>
                <a:gd name="connsiteY24" fmla="*/ 82550 h 285751"/>
                <a:gd name="connsiteX25" fmla="*/ 193675 w 338138"/>
                <a:gd name="connsiteY25" fmla="*/ 99703 h 285751"/>
                <a:gd name="connsiteX26" fmla="*/ 193675 w 338138"/>
                <a:gd name="connsiteY26" fmla="*/ 268597 h 285751"/>
                <a:gd name="connsiteX27" fmla="*/ 175185 w 338138"/>
                <a:gd name="connsiteY27" fmla="*/ 285750 h 285751"/>
                <a:gd name="connsiteX28" fmla="*/ 107830 w 338138"/>
                <a:gd name="connsiteY28" fmla="*/ 285750 h 285751"/>
                <a:gd name="connsiteX29" fmla="*/ 109151 w 338138"/>
                <a:gd name="connsiteY29" fmla="*/ 276514 h 285751"/>
                <a:gd name="connsiteX30" fmla="*/ 109151 w 338138"/>
                <a:gd name="connsiteY30" fmla="*/ 273875 h 285751"/>
                <a:gd name="connsiteX31" fmla="*/ 115754 w 338138"/>
                <a:gd name="connsiteY31" fmla="*/ 275194 h 285751"/>
                <a:gd name="connsiteX32" fmla="*/ 124999 w 338138"/>
                <a:gd name="connsiteY32" fmla="*/ 264639 h 285751"/>
                <a:gd name="connsiteX33" fmla="*/ 115754 w 338138"/>
                <a:gd name="connsiteY33" fmla="*/ 254083 h 285751"/>
                <a:gd name="connsiteX34" fmla="*/ 109151 w 338138"/>
                <a:gd name="connsiteY34" fmla="*/ 256722 h 285751"/>
                <a:gd name="connsiteX35" fmla="*/ 109151 w 338138"/>
                <a:gd name="connsiteY35" fmla="*/ 235610 h 285751"/>
                <a:gd name="connsiteX36" fmla="*/ 168582 w 338138"/>
                <a:gd name="connsiteY36" fmla="*/ 235610 h 285751"/>
                <a:gd name="connsiteX37" fmla="*/ 168582 w 338138"/>
                <a:gd name="connsiteY37" fmla="*/ 110259 h 285751"/>
                <a:gd name="connsiteX38" fmla="*/ 61606 w 338138"/>
                <a:gd name="connsiteY38" fmla="*/ 110259 h 285751"/>
                <a:gd name="connsiteX39" fmla="*/ 61606 w 338138"/>
                <a:gd name="connsiteY39" fmla="*/ 126093 h 285751"/>
                <a:gd name="connsiteX40" fmla="*/ 36512 w 338138"/>
                <a:gd name="connsiteY40" fmla="*/ 126093 h 285751"/>
                <a:gd name="connsiteX41" fmla="*/ 36512 w 338138"/>
                <a:gd name="connsiteY41" fmla="*/ 99703 h 285751"/>
                <a:gd name="connsiteX42" fmla="*/ 55002 w 338138"/>
                <a:gd name="connsiteY42" fmla="*/ 82550 h 285751"/>
                <a:gd name="connsiteX43" fmla="*/ 102729 w 338138"/>
                <a:gd name="connsiteY43" fmla="*/ 0 h 285751"/>
                <a:gd name="connsiteX44" fmla="*/ 305260 w 338138"/>
                <a:gd name="connsiteY44" fmla="*/ 0 h 285751"/>
                <a:gd name="connsiteX45" fmla="*/ 338138 w 338138"/>
                <a:gd name="connsiteY45" fmla="*/ 34237 h 285751"/>
                <a:gd name="connsiteX46" fmla="*/ 338138 w 338138"/>
                <a:gd name="connsiteY46" fmla="*/ 188306 h 285751"/>
                <a:gd name="connsiteX47" fmla="*/ 305260 w 338138"/>
                <a:gd name="connsiteY47" fmla="*/ 221226 h 285751"/>
                <a:gd name="connsiteX48" fmla="*/ 234242 w 338138"/>
                <a:gd name="connsiteY48" fmla="*/ 221226 h 285751"/>
                <a:gd name="connsiteX49" fmla="*/ 234242 w 338138"/>
                <a:gd name="connsiteY49" fmla="*/ 243612 h 285751"/>
                <a:gd name="connsiteX50" fmla="*/ 265806 w 338138"/>
                <a:gd name="connsiteY50" fmla="*/ 243612 h 285751"/>
                <a:gd name="connsiteX51" fmla="*/ 277642 w 338138"/>
                <a:gd name="connsiteY51" fmla="*/ 256780 h 285751"/>
                <a:gd name="connsiteX52" fmla="*/ 277642 w 338138"/>
                <a:gd name="connsiteY52" fmla="*/ 272582 h 285751"/>
                <a:gd name="connsiteX53" fmla="*/ 265806 w 338138"/>
                <a:gd name="connsiteY53" fmla="*/ 285750 h 285751"/>
                <a:gd name="connsiteX54" fmla="*/ 205309 w 338138"/>
                <a:gd name="connsiteY54" fmla="*/ 285750 h 285751"/>
                <a:gd name="connsiteX55" fmla="*/ 210570 w 338138"/>
                <a:gd name="connsiteY55" fmla="*/ 269948 h 285751"/>
                <a:gd name="connsiteX56" fmla="*/ 210570 w 338138"/>
                <a:gd name="connsiteY56" fmla="*/ 213325 h 285751"/>
                <a:gd name="connsiteX57" fmla="*/ 210570 w 338138"/>
                <a:gd name="connsiteY57" fmla="*/ 172504 h 285751"/>
                <a:gd name="connsiteX58" fmla="*/ 296054 w 338138"/>
                <a:gd name="connsiteY58" fmla="*/ 172504 h 285751"/>
                <a:gd name="connsiteX59" fmla="*/ 309205 w 338138"/>
                <a:gd name="connsiteY59" fmla="*/ 159335 h 285751"/>
                <a:gd name="connsiteX60" fmla="*/ 309205 w 338138"/>
                <a:gd name="connsiteY60" fmla="*/ 39504 h 285751"/>
                <a:gd name="connsiteX61" fmla="*/ 296054 w 338138"/>
                <a:gd name="connsiteY61" fmla="*/ 27653 h 285751"/>
                <a:gd name="connsiteX62" fmla="*/ 110620 w 338138"/>
                <a:gd name="connsiteY62" fmla="*/ 27653 h 285751"/>
                <a:gd name="connsiteX63" fmla="*/ 98783 w 338138"/>
                <a:gd name="connsiteY63" fmla="*/ 39504 h 285751"/>
                <a:gd name="connsiteX64" fmla="*/ 98783 w 338138"/>
                <a:gd name="connsiteY64" fmla="*/ 65841 h 285751"/>
                <a:gd name="connsiteX65" fmla="*/ 69850 w 338138"/>
                <a:gd name="connsiteY65" fmla="*/ 65841 h 285751"/>
                <a:gd name="connsiteX66" fmla="*/ 69850 w 338138"/>
                <a:gd name="connsiteY66" fmla="*/ 34237 h 285751"/>
                <a:gd name="connsiteX67" fmla="*/ 102729 w 338138"/>
                <a:gd name="connsiteY67" fmla="*/ 0 h 28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38138" h="285751">
                  <a:moveTo>
                    <a:pt x="46038" y="261938"/>
                  </a:moveTo>
                  <a:cubicBezTo>
                    <a:pt x="41654" y="261938"/>
                    <a:pt x="38100" y="265847"/>
                    <a:pt x="38100" y="270670"/>
                  </a:cubicBezTo>
                  <a:cubicBezTo>
                    <a:pt x="38100" y="275493"/>
                    <a:pt x="41654" y="279402"/>
                    <a:pt x="46038" y="279402"/>
                  </a:cubicBezTo>
                  <a:cubicBezTo>
                    <a:pt x="50422" y="279402"/>
                    <a:pt x="53976" y="275493"/>
                    <a:pt x="53976" y="270670"/>
                  </a:cubicBezTo>
                  <a:cubicBezTo>
                    <a:pt x="53976" y="265847"/>
                    <a:pt x="50422" y="261938"/>
                    <a:pt x="46038" y="261938"/>
                  </a:cubicBezTo>
                  <a:close/>
                  <a:moveTo>
                    <a:pt x="288131" y="184150"/>
                  </a:moveTo>
                  <a:cubicBezTo>
                    <a:pt x="282432" y="184150"/>
                    <a:pt x="277812" y="188770"/>
                    <a:pt x="277812" y="194469"/>
                  </a:cubicBezTo>
                  <a:cubicBezTo>
                    <a:pt x="277812" y="200168"/>
                    <a:pt x="282432" y="204788"/>
                    <a:pt x="288131" y="204788"/>
                  </a:cubicBezTo>
                  <a:cubicBezTo>
                    <a:pt x="293830" y="204788"/>
                    <a:pt x="298450" y="200168"/>
                    <a:pt x="298450" y="194469"/>
                  </a:cubicBezTo>
                  <a:cubicBezTo>
                    <a:pt x="298450" y="188770"/>
                    <a:pt x="293830" y="184150"/>
                    <a:pt x="288131" y="184150"/>
                  </a:cubicBezTo>
                  <a:close/>
                  <a:moveTo>
                    <a:pt x="19050" y="165100"/>
                  </a:moveTo>
                  <a:lnTo>
                    <a:pt x="19050" y="242888"/>
                  </a:lnTo>
                  <a:lnTo>
                    <a:pt x="73025" y="242888"/>
                  </a:lnTo>
                  <a:lnTo>
                    <a:pt x="73025" y="165100"/>
                  </a:lnTo>
                  <a:close/>
                  <a:moveTo>
                    <a:pt x="12010" y="141288"/>
                  </a:moveTo>
                  <a:cubicBezTo>
                    <a:pt x="12010" y="141288"/>
                    <a:pt x="12010" y="141288"/>
                    <a:pt x="81400" y="141288"/>
                  </a:cubicBezTo>
                  <a:cubicBezTo>
                    <a:pt x="86738" y="141288"/>
                    <a:pt x="92075" y="146541"/>
                    <a:pt x="92075" y="153107"/>
                  </a:cubicBezTo>
                  <a:cubicBezTo>
                    <a:pt x="92075" y="153107"/>
                    <a:pt x="92075" y="153107"/>
                    <a:pt x="92075" y="273932"/>
                  </a:cubicBezTo>
                  <a:cubicBezTo>
                    <a:pt x="92075" y="280498"/>
                    <a:pt x="86738" y="285751"/>
                    <a:pt x="81400" y="285751"/>
                  </a:cubicBezTo>
                  <a:cubicBezTo>
                    <a:pt x="81400" y="285751"/>
                    <a:pt x="81400" y="285751"/>
                    <a:pt x="12010" y="285751"/>
                  </a:cubicBezTo>
                  <a:cubicBezTo>
                    <a:pt x="5337" y="285751"/>
                    <a:pt x="0" y="280498"/>
                    <a:pt x="0" y="273932"/>
                  </a:cubicBezTo>
                  <a:cubicBezTo>
                    <a:pt x="0" y="273932"/>
                    <a:pt x="0" y="273932"/>
                    <a:pt x="0" y="153107"/>
                  </a:cubicBezTo>
                  <a:cubicBezTo>
                    <a:pt x="0" y="146541"/>
                    <a:pt x="5337" y="141288"/>
                    <a:pt x="12010" y="141288"/>
                  </a:cubicBezTo>
                  <a:close/>
                  <a:moveTo>
                    <a:pt x="55002" y="82550"/>
                  </a:moveTo>
                  <a:cubicBezTo>
                    <a:pt x="55002" y="82550"/>
                    <a:pt x="55002" y="82550"/>
                    <a:pt x="175185" y="82550"/>
                  </a:cubicBezTo>
                  <a:cubicBezTo>
                    <a:pt x="185751" y="82550"/>
                    <a:pt x="193675" y="90467"/>
                    <a:pt x="193675" y="99703"/>
                  </a:cubicBezTo>
                  <a:cubicBezTo>
                    <a:pt x="193675" y="99703"/>
                    <a:pt x="193675" y="99703"/>
                    <a:pt x="193675" y="268597"/>
                  </a:cubicBezTo>
                  <a:cubicBezTo>
                    <a:pt x="193675" y="277833"/>
                    <a:pt x="185751" y="285750"/>
                    <a:pt x="175185" y="285750"/>
                  </a:cubicBezTo>
                  <a:cubicBezTo>
                    <a:pt x="175185" y="285750"/>
                    <a:pt x="175185" y="285750"/>
                    <a:pt x="107830" y="285750"/>
                  </a:cubicBezTo>
                  <a:cubicBezTo>
                    <a:pt x="109151" y="283111"/>
                    <a:pt x="109151" y="280472"/>
                    <a:pt x="109151" y="276514"/>
                  </a:cubicBezTo>
                  <a:cubicBezTo>
                    <a:pt x="109151" y="276514"/>
                    <a:pt x="109151" y="276514"/>
                    <a:pt x="109151" y="273875"/>
                  </a:cubicBezTo>
                  <a:cubicBezTo>
                    <a:pt x="110471" y="273875"/>
                    <a:pt x="113113" y="275194"/>
                    <a:pt x="115754" y="275194"/>
                  </a:cubicBezTo>
                  <a:cubicBezTo>
                    <a:pt x="121037" y="275194"/>
                    <a:pt x="124999" y="271236"/>
                    <a:pt x="124999" y="264639"/>
                  </a:cubicBezTo>
                  <a:cubicBezTo>
                    <a:pt x="124999" y="259361"/>
                    <a:pt x="121037" y="254083"/>
                    <a:pt x="115754" y="254083"/>
                  </a:cubicBezTo>
                  <a:cubicBezTo>
                    <a:pt x="113113" y="254083"/>
                    <a:pt x="110471" y="255402"/>
                    <a:pt x="109151" y="256722"/>
                  </a:cubicBezTo>
                  <a:cubicBezTo>
                    <a:pt x="109151" y="256722"/>
                    <a:pt x="109151" y="256722"/>
                    <a:pt x="109151" y="235610"/>
                  </a:cubicBezTo>
                  <a:cubicBezTo>
                    <a:pt x="109151" y="235610"/>
                    <a:pt x="109151" y="235610"/>
                    <a:pt x="168582" y="235610"/>
                  </a:cubicBezTo>
                  <a:cubicBezTo>
                    <a:pt x="168582" y="235610"/>
                    <a:pt x="168582" y="235610"/>
                    <a:pt x="168582" y="110259"/>
                  </a:cubicBezTo>
                  <a:cubicBezTo>
                    <a:pt x="168582" y="110259"/>
                    <a:pt x="168582" y="110259"/>
                    <a:pt x="61606" y="110259"/>
                  </a:cubicBezTo>
                  <a:cubicBezTo>
                    <a:pt x="61606" y="110259"/>
                    <a:pt x="61606" y="110259"/>
                    <a:pt x="61606" y="126093"/>
                  </a:cubicBezTo>
                  <a:cubicBezTo>
                    <a:pt x="61606" y="126093"/>
                    <a:pt x="61606" y="126093"/>
                    <a:pt x="36512" y="126093"/>
                  </a:cubicBezTo>
                  <a:cubicBezTo>
                    <a:pt x="36512" y="126093"/>
                    <a:pt x="36512" y="126093"/>
                    <a:pt x="36512" y="99703"/>
                  </a:cubicBezTo>
                  <a:cubicBezTo>
                    <a:pt x="36512" y="90467"/>
                    <a:pt x="45757" y="82550"/>
                    <a:pt x="55002" y="82550"/>
                  </a:cubicBezTo>
                  <a:close/>
                  <a:moveTo>
                    <a:pt x="102729" y="0"/>
                  </a:moveTo>
                  <a:cubicBezTo>
                    <a:pt x="102729" y="0"/>
                    <a:pt x="102729" y="0"/>
                    <a:pt x="305260" y="0"/>
                  </a:cubicBezTo>
                  <a:cubicBezTo>
                    <a:pt x="323672" y="0"/>
                    <a:pt x="338138" y="15802"/>
                    <a:pt x="338138" y="34237"/>
                  </a:cubicBezTo>
                  <a:cubicBezTo>
                    <a:pt x="338138" y="34237"/>
                    <a:pt x="338138" y="34237"/>
                    <a:pt x="338138" y="188306"/>
                  </a:cubicBezTo>
                  <a:cubicBezTo>
                    <a:pt x="338138" y="206741"/>
                    <a:pt x="323672" y="221226"/>
                    <a:pt x="305260" y="221226"/>
                  </a:cubicBezTo>
                  <a:cubicBezTo>
                    <a:pt x="305260" y="221226"/>
                    <a:pt x="305260" y="221226"/>
                    <a:pt x="234242" y="221226"/>
                  </a:cubicBezTo>
                  <a:cubicBezTo>
                    <a:pt x="234242" y="221226"/>
                    <a:pt x="234242" y="221226"/>
                    <a:pt x="234242" y="243612"/>
                  </a:cubicBezTo>
                  <a:cubicBezTo>
                    <a:pt x="234242" y="243612"/>
                    <a:pt x="234242" y="243612"/>
                    <a:pt x="265806" y="243612"/>
                  </a:cubicBezTo>
                  <a:cubicBezTo>
                    <a:pt x="272381" y="243612"/>
                    <a:pt x="277642" y="250196"/>
                    <a:pt x="277642" y="256780"/>
                  </a:cubicBezTo>
                  <a:cubicBezTo>
                    <a:pt x="277642" y="256780"/>
                    <a:pt x="277642" y="256780"/>
                    <a:pt x="277642" y="272582"/>
                  </a:cubicBezTo>
                  <a:cubicBezTo>
                    <a:pt x="277642" y="280483"/>
                    <a:pt x="272381" y="285750"/>
                    <a:pt x="265806" y="285750"/>
                  </a:cubicBezTo>
                  <a:cubicBezTo>
                    <a:pt x="265806" y="285750"/>
                    <a:pt x="265806" y="285750"/>
                    <a:pt x="205309" y="285750"/>
                  </a:cubicBezTo>
                  <a:cubicBezTo>
                    <a:pt x="207940" y="280483"/>
                    <a:pt x="209255" y="275216"/>
                    <a:pt x="210570" y="269948"/>
                  </a:cubicBezTo>
                  <a:cubicBezTo>
                    <a:pt x="210570" y="268632"/>
                    <a:pt x="210570" y="213325"/>
                    <a:pt x="210570" y="213325"/>
                  </a:cubicBezTo>
                  <a:cubicBezTo>
                    <a:pt x="210570" y="213325"/>
                    <a:pt x="210570" y="213325"/>
                    <a:pt x="210570" y="172504"/>
                  </a:cubicBezTo>
                  <a:cubicBezTo>
                    <a:pt x="210570" y="172504"/>
                    <a:pt x="210570" y="172504"/>
                    <a:pt x="296054" y="172504"/>
                  </a:cubicBezTo>
                  <a:cubicBezTo>
                    <a:pt x="303945" y="172504"/>
                    <a:pt x="309205" y="165920"/>
                    <a:pt x="309205" y="159335"/>
                  </a:cubicBezTo>
                  <a:cubicBezTo>
                    <a:pt x="309205" y="159335"/>
                    <a:pt x="309205" y="159335"/>
                    <a:pt x="309205" y="39504"/>
                  </a:cubicBezTo>
                  <a:cubicBezTo>
                    <a:pt x="309205" y="32920"/>
                    <a:pt x="303945" y="27653"/>
                    <a:pt x="296054" y="27653"/>
                  </a:cubicBezTo>
                  <a:cubicBezTo>
                    <a:pt x="296054" y="27653"/>
                    <a:pt x="296054" y="27653"/>
                    <a:pt x="110620" y="27653"/>
                  </a:cubicBezTo>
                  <a:cubicBezTo>
                    <a:pt x="104044" y="27653"/>
                    <a:pt x="98783" y="32920"/>
                    <a:pt x="98783" y="39504"/>
                  </a:cubicBezTo>
                  <a:cubicBezTo>
                    <a:pt x="98783" y="39504"/>
                    <a:pt x="98783" y="39504"/>
                    <a:pt x="98783" y="65841"/>
                  </a:cubicBezTo>
                  <a:cubicBezTo>
                    <a:pt x="98783" y="65841"/>
                    <a:pt x="98783" y="65841"/>
                    <a:pt x="69850" y="65841"/>
                  </a:cubicBezTo>
                  <a:cubicBezTo>
                    <a:pt x="69850" y="65841"/>
                    <a:pt x="69850" y="65841"/>
                    <a:pt x="69850" y="34237"/>
                  </a:cubicBezTo>
                  <a:cubicBezTo>
                    <a:pt x="69850" y="15802"/>
                    <a:pt x="84317" y="0"/>
                    <a:pt x="102729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91440" tIns="45720" rIns="91440" bIns="45720" anchor="ctr"/>
            <a:lstStyle/>
            <a:p>
              <a:pPr algn="ctr"/>
              <a:endParaRPr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016ABC59-63E5-45E4-9690-A00073158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4802" y="3204305"/>
              <a:ext cx="824111" cy="696433"/>
            </a:xfrm>
            <a:custGeom>
              <a:avLst/>
              <a:gdLst>
                <a:gd name="connsiteX0" fmla="*/ 46038 w 338138"/>
                <a:gd name="connsiteY0" fmla="*/ 261938 h 285751"/>
                <a:gd name="connsiteX1" fmla="*/ 38100 w 338138"/>
                <a:gd name="connsiteY1" fmla="*/ 270670 h 285751"/>
                <a:gd name="connsiteX2" fmla="*/ 46038 w 338138"/>
                <a:gd name="connsiteY2" fmla="*/ 279402 h 285751"/>
                <a:gd name="connsiteX3" fmla="*/ 53976 w 338138"/>
                <a:gd name="connsiteY3" fmla="*/ 270670 h 285751"/>
                <a:gd name="connsiteX4" fmla="*/ 46038 w 338138"/>
                <a:gd name="connsiteY4" fmla="*/ 261938 h 285751"/>
                <a:gd name="connsiteX5" fmla="*/ 288131 w 338138"/>
                <a:gd name="connsiteY5" fmla="*/ 184150 h 285751"/>
                <a:gd name="connsiteX6" fmla="*/ 277812 w 338138"/>
                <a:gd name="connsiteY6" fmla="*/ 194469 h 285751"/>
                <a:gd name="connsiteX7" fmla="*/ 288131 w 338138"/>
                <a:gd name="connsiteY7" fmla="*/ 204788 h 285751"/>
                <a:gd name="connsiteX8" fmla="*/ 298450 w 338138"/>
                <a:gd name="connsiteY8" fmla="*/ 194469 h 285751"/>
                <a:gd name="connsiteX9" fmla="*/ 288131 w 338138"/>
                <a:gd name="connsiteY9" fmla="*/ 184150 h 285751"/>
                <a:gd name="connsiteX10" fmla="*/ 19050 w 338138"/>
                <a:gd name="connsiteY10" fmla="*/ 165100 h 285751"/>
                <a:gd name="connsiteX11" fmla="*/ 19050 w 338138"/>
                <a:gd name="connsiteY11" fmla="*/ 242888 h 285751"/>
                <a:gd name="connsiteX12" fmla="*/ 73025 w 338138"/>
                <a:gd name="connsiteY12" fmla="*/ 242888 h 285751"/>
                <a:gd name="connsiteX13" fmla="*/ 73025 w 338138"/>
                <a:gd name="connsiteY13" fmla="*/ 165100 h 285751"/>
                <a:gd name="connsiteX14" fmla="*/ 12010 w 338138"/>
                <a:gd name="connsiteY14" fmla="*/ 141288 h 285751"/>
                <a:gd name="connsiteX15" fmla="*/ 81400 w 338138"/>
                <a:gd name="connsiteY15" fmla="*/ 141288 h 285751"/>
                <a:gd name="connsiteX16" fmla="*/ 92075 w 338138"/>
                <a:gd name="connsiteY16" fmla="*/ 153107 h 285751"/>
                <a:gd name="connsiteX17" fmla="*/ 92075 w 338138"/>
                <a:gd name="connsiteY17" fmla="*/ 273932 h 285751"/>
                <a:gd name="connsiteX18" fmla="*/ 81400 w 338138"/>
                <a:gd name="connsiteY18" fmla="*/ 285751 h 285751"/>
                <a:gd name="connsiteX19" fmla="*/ 12010 w 338138"/>
                <a:gd name="connsiteY19" fmla="*/ 285751 h 285751"/>
                <a:gd name="connsiteX20" fmla="*/ 0 w 338138"/>
                <a:gd name="connsiteY20" fmla="*/ 273932 h 285751"/>
                <a:gd name="connsiteX21" fmla="*/ 0 w 338138"/>
                <a:gd name="connsiteY21" fmla="*/ 153107 h 285751"/>
                <a:gd name="connsiteX22" fmla="*/ 12010 w 338138"/>
                <a:gd name="connsiteY22" fmla="*/ 141288 h 285751"/>
                <a:gd name="connsiteX23" fmla="*/ 55002 w 338138"/>
                <a:gd name="connsiteY23" fmla="*/ 82550 h 285751"/>
                <a:gd name="connsiteX24" fmla="*/ 175185 w 338138"/>
                <a:gd name="connsiteY24" fmla="*/ 82550 h 285751"/>
                <a:gd name="connsiteX25" fmla="*/ 193675 w 338138"/>
                <a:gd name="connsiteY25" fmla="*/ 99703 h 285751"/>
                <a:gd name="connsiteX26" fmla="*/ 193675 w 338138"/>
                <a:gd name="connsiteY26" fmla="*/ 268597 h 285751"/>
                <a:gd name="connsiteX27" fmla="*/ 175185 w 338138"/>
                <a:gd name="connsiteY27" fmla="*/ 285750 h 285751"/>
                <a:gd name="connsiteX28" fmla="*/ 107830 w 338138"/>
                <a:gd name="connsiteY28" fmla="*/ 285750 h 285751"/>
                <a:gd name="connsiteX29" fmla="*/ 109151 w 338138"/>
                <a:gd name="connsiteY29" fmla="*/ 276514 h 285751"/>
                <a:gd name="connsiteX30" fmla="*/ 109151 w 338138"/>
                <a:gd name="connsiteY30" fmla="*/ 273875 h 285751"/>
                <a:gd name="connsiteX31" fmla="*/ 115754 w 338138"/>
                <a:gd name="connsiteY31" fmla="*/ 275194 h 285751"/>
                <a:gd name="connsiteX32" fmla="*/ 124999 w 338138"/>
                <a:gd name="connsiteY32" fmla="*/ 264639 h 285751"/>
                <a:gd name="connsiteX33" fmla="*/ 115754 w 338138"/>
                <a:gd name="connsiteY33" fmla="*/ 254083 h 285751"/>
                <a:gd name="connsiteX34" fmla="*/ 109151 w 338138"/>
                <a:gd name="connsiteY34" fmla="*/ 256722 h 285751"/>
                <a:gd name="connsiteX35" fmla="*/ 109151 w 338138"/>
                <a:gd name="connsiteY35" fmla="*/ 235610 h 285751"/>
                <a:gd name="connsiteX36" fmla="*/ 168582 w 338138"/>
                <a:gd name="connsiteY36" fmla="*/ 235610 h 285751"/>
                <a:gd name="connsiteX37" fmla="*/ 168582 w 338138"/>
                <a:gd name="connsiteY37" fmla="*/ 110259 h 285751"/>
                <a:gd name="connsiteX38" fmla="*/ 61606 w 338138"/>
                <a:gd name="connsiteY38" fmla="*/ 110259 h 285751"/>
                <a:gd name="connsiteX39" fmla="*/ 61606 w 338138"/>
                <a:gd name="connsiteY39" fmla="*/ 126093 h 285751"/>
                <a:gd name="connsiteX40" fmla="*/ 36512 w 338138"/>
                <a:gd name="connsiteY40" fmla="*/ 126093 h 285751"/>
                <a:gd name="connsiteX41" fmla="*/ 36512 w 338138"/>
                <a:gd name="connsiteY41" fmla="*/ 99703 h 285751"/>
                <a:gd name="connsiteX42" fmla="*/ 55002 w 338138"/>
                <a:gd name="connsiteY42" fmla="*/ 82550 h 285751"/>
                <a:gd name="connsiteX43" fmla="*/ 102729 w 338138"/>
                <a:gd name="connsiteY43" fmla="*/ 0 h 285751"/>
                <a:gd name="connsiteX44" fmla="*/ 305260 w 338138"/>
                <a:gd name="connsiteY44" fmla="*/ 0 h 285751"/>
                <a:gd name="connsiteX45" fmla="*/ 338138 w 338138"/>
                <a:gd name="connsiteY45" fmla="*/ 34237 h 285751"/>
                <a:gd name="connsiteX46" fmla="*/ 338138 w 338138"/>
                <a:gd name="connsiteY46" fmla="*/ 188306 h 285751"/>
                <a:gd name="connsiteX47" fmla="*/ 305260 w 338138"/>
                <a:gd name="connsiteY47" fmla="*/ 221226 h 285751"/>
                <a:gd name="connsiteX48" fmla="*/ 234242 w 338138"/>
                <a:gd name="connsiteY48" fmla="*/ 221226 h 285751"/>
                <a:gd name="connsiteX49" fmla="*/ 234242 w 338138"/>
                <a:gd name="connsiteY49" fmla="*/ 243612 h 285751"/>
                <a:gd name="connsiteX50" fmla="*/ 265806 w 338138"/>
                <a:gd name="connsiteY50" fmla="*/ 243612 h 285751"/>
                <a:gd name="connsiteX51" fmla="*/ 277642 w 338138"/>
                <a:gd name="connsiteY51" fmla="*/ 256780 h 285751"/>
                <a:gd name="connsiteX52" fmla="*/ 277642 w 338138"/>
                <a:gd name="connsiteY52" fmla="*/ 272582 h 285751"/>
                <a:gd name="connsiteX53" fmla="*/ 265806 w 338138"/>
                <a:gd name="connsiteY53" fmla="*/ 285750 h 285751"/>
                <a:gd name="connsiteX54" fmla="*/ 205309 w 338138"/>
                <a:gd name="connsiteY54" fmla="*/ 285750 h 285751"/>
                <a:gd name="connsiteX55" fmla="*/ 210570 w 338138"/>
                <a:gd name="connsiteY55" fmla="*/ 269948 h 285751"/>
                <a:gd name="connsiteX56" fmla="*/ 210570 w 338138"/>
                <a:gd name="connsiteY56" fmla="*/ 213325 h 285751"/>
                <a:gd name="connsiteX57" fmla="*/ 210570 w 338138"/>
                <a:gd name="connsiteY57" fmla="*/ 172504 h 285751"/>
                <a:gd name="connsiteX58" fmla="*/ 296054 w 338138"/>
                <a:gd name="connsiteY58" fmla="*/ 172504 h 285751"/>
                <a:gd name="connsiteX59" fmla="*/ 309205 w 338138"/>
                <a:gd name="connsiteY59" fmla="*/ 159335 h 285751"/>
                <a:gd name="connsiteX60" fmla="*/ 309205 w 338138"/>
                <a:gd name="connsiteY60" fmla="*/ 39504 h 285751"/>
                <a:gd name="connsiteX61" fmla="*/ 296054 w 338138"/>
                <a:gd name="connsiteY61" fmla="*/ 27653 h 285751"/>
                <a:gd name="connsiteX62" fmla="*/ 110620 w 338138"/>
                <a:gd name="connsiteY62" fmla="*/ 27653 h 285751"/>
                <a:gd name="connsiteX63" fmla="*/ 98783 w 338138"/>
                <a:gd name="connsiteY63" fmla="*/ 39504 h 285751"/>
                <a:gd name="connsiteX64" fmla="*/ 98783 w 338138"/>
                <a:gd name="connsiteY64" fmla="*/ 65841 h 285751"/>
                <a:gd name="connsiteX65" fmla="*/ 69850 w 338138"/>
                <a:gd name="connsiteY65" fmla="*/ 65841 h 285751"/>
                <a:gd name="connsiteX66" fmla="*/ 69850 w 338138"/>
                <a:gd name="connsiteY66" fmla="*/ 34237 h 285751"/>
                <a:gd name="connsiteX67" fmla="*/ 102729 w 338138"/>
                <a:gd name="connsiteY67" fmla="*/ 0 h 285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338138" h="285751">
                  <a:moveTo>
                    <a:pt x="46038" y="261938"/>
                  </a:moveTo>
                  <a:cubicBezTo>
                    <a:pt x="41654" y="261938"/>
                    <a:pt x="38100" y="265847"/>
                    <a:pt x="38100" y="270670"/>
                  </a:cubicBezTo>
                  <a:cubicBezTo>
                    <a:pt x="38100" y="275493"/>
                    <a:pt x="41654" y="279402"/>
                    <a:pt x="46038" y="279402"/>
                  </a:cubicBezTo>
                  <a:cubicBezTo>
                    <a:pt x="50422" y="279402"/>
                    <a:pt x="53976" y="275493"/>
                    <a:pt x="53976" y="270670"/>
                  </a:cubicBezTo>
                  <a:cubicBezTo>
                    <a:pt x="53976" y="265847"/>
                    <a:pt x="50422" y="261938"/>
                    <a:pt x="46038" y="261938"/>
                  </a:cubicBezTo>
                  <a:close/>
                  <a:moveTo>
                    <a:pt x="288131" y="184150"/>
                  </a:moveTo>
                  <a:cubicBezTo>
                    <a:pt x="282432" y="184150"/>
                    <a:pt x="277812" y="188770"/>
                    <a:pt x="277812" y="194469"/>
                  </a:cubicBezTo>
                  <a:cubicBezTo>
                    <a:pt x="277812" y="200168"/>
                    <a:pt x="282432" y="204788"/>
                    <a:pt x="288131" y="204788"/>
                  </a:cubicBezTo>
                  <a:cubicBezTo>
                    <a:pt x="293830" y="204788"/>
                    <a:pt x="298450" y="200168"/>
                    <a:pt x="298450" y="194469"/>
                  </a:cubicBezTo>
                  <a:cubicBezTo>
                    <a:pt x="298450" y="188770"/>
                    <a:pt x="293830" y="184150"/>
                    <a:pt x="288131" y="184150"/>
                  </a:cubicBezTo>
                  <a:close/>
                  <a:moveTo>
                    <a:pt x="19050" y="165100"/>
                  </a:moveTo>
                  <a:lnTo>
                    <a:pt x="19050" y="242888"/>
                  </a:lnTo>
                  <a:lnTo>
                    <a:pt x="73025" y="242888"/>
                  </a:lnTo>
                  <a:lnTo>
                    <a:pt x="73025" y="165100"/>
                  </a:lnTo>
                  <a:close/>
                  <a:moveTo>
                    <a:pt x="12010" y="141288"/>
                  </a:moveTo>
                  <a:cubicBezTo>
                    <a:pt x="12010" y="141288"/>
                    <a:pt x="12010" y="141288"/>
                    <a:pt x="81400" y="141288"/>
                  </a:cubicBezTo>
                  <a:cubicBezTo>
                    <a:pt x="86738" y="141288"/>
                    <a:pt x="92075" y="146541"/>
                    <a:pt x="92075" y="153107"/>
                  </a:cubicBezTo>
                  <a:cubicBezTo>
                    <a:pt x="92075" y="153107"/>
                    <a:pt x="92075" y="153107"/>
                    <a:pt x="92075" y="273932"/>
                  </a:cubicBezTo>
                  <a:cubicBezTo>
                    <a:pt x="92075" y="280498"/>
                    <a:pt x="86738" y="285751"/>
                    <a:pt x="81400" y="285751"/>
                  </a:cubicBezTo>
                  <a:cubicBezTo>
                    <a:pt x="81400" y="285751"/>
                    <a:pt x="81400" y="285751"/>
                    <a:pt x="12010" y="285751"/>
                  </a:cubicBezTo>
                  <a:cubicBezTo>
                    <a:pt x="5337" y="285751"/>
                    <a:pt x="0" y="280498"/>
                    <a:pt x="0" y="273932"/>
                  </a:cubicBezTo>
                  <a:cubicBezTo>
                    <a:pt x="0" y="273932"/>
                    <a:pt x="0" y="273932"/>
                    <a:pt x="0" y="153107"/>
                  </a:cubicBezTo>
                  <a:cubicBezTo>
                    <a:pt x="0" y="146541"/>
                    <a:pt x="5337" y="141288"/>
                    <a:pt x="12010" y="141288"/>
                  </a:cubicBezTo>
                  <a:close/>
                  <a:moveTo>
                    <a:pt x="55002" y="82550"/>
                  </a:moveTo>
                  <a:cubicBezTo>
                    <a:pt x="55002" y="82550"/>
                    <a:pt x="55002" y="82550"/>
                    <a:pt x="175185" y="82550"/>
                  </a:cubicBezTo>
                  <a:cubicBezTo>
                    <a:pt x="185751" y="82550"/>
                    <a:pt x="193675" y="90467"/>
                    <a:pt x="193675" y="99703"/>
                  </a:cubicBezTo>
                  <a:cubicBezTo>
                    <a:pt x="193675" y="99703"/>
                    <a:pt x="193675" y="99703"/>
                    <a:pt x="193675" y="268597"/>
                  </a:cubicBezTo>
                  <a:cubicBezTo>
                    <a:pt x="193675" y="277833"/>
                    <a:pt x="185751" y="285750"/>
                    <a:pt x="175185" y="285750"/>
                  </a:cubicBezTo>
                  <a:cubicBezTo>
                    <a:pt x="175185" y="285750"/>
                    <a:pt x="175185" y="285750"/>
                    <a:pt x="107830" y="285750"/>
                  </a:cubicBezTo>
                  <a:cubicBezTo>
                    <a:pt x="109151" y="283111"/>
                    <a:pt x="109151" y="280472"/>
                    <a:pt x="109151" y="276514"/>
                  </a:cubicBezTo>
                  <a:cubicBezTo>
                    <a:pt x="109151" y="276514"/>
                    <a:pt x="109151" y="276514"/>
                    <a:pt x="109151" y="273875"/>
                  </a:cubicBezTo>
                  <a:cubicBezTo>
                    <a:pt x="110471" y="273875"/>
                    <a:pt x="113113" y="275194"/>
                    <a:pt x="115754" y="275194"/>
                  </a:cubicBezTo>
                  <a:cubicBezTo>
                    <a:pt x="121037" y="275194"/>
                    <a:pt x="124999" y="271236"/>
                    <a:pt x="124999" y="264639"/>
                  </a:cubicBezTo>
                  <a:cubicBezTo>
                    <a:pt x="124999" y="259361"/>
                    <a:pt x="121037" y="254083"/>
                    <a:pt x="115754" y="254083"/>
                  </a:cubicBezTo>
                  <a:cubicBezTo>
                    <a:pt x="113113" y="254083"/>
                    <a:pt x="110471" y="255402"/>
                    <a:pt x="109151" y="256722"/>
                  </a:cubicBezTo>
                  <a:cubicBezTo>
                    <a:pt x="109151" y="256722"/>
                    <a:pt x="109151" y="256722"/>
                    <a:pt x="109151" y="235610"/>
                  </a:cubicBezTo>
                  <a:cubicBezTo>
                    <a:pt x="109151" y="235610"/>
                    <a:pt x="109151" y="235610"/>
                    <a:pt x="168582" y="235610"/>
                  </a:cubicBezTo>
                  <a:cubicBezTo>
                    <a:pt x="168582" y="235610"/>
                    <a:pt x="168582" y="235610"/>
                    <a:pt x="168582" y="110259"/>
                  </a:cubicBezTo>
                  <a:cubicBezTo>
                    <a:pt x="168582" y="110259"/>
                    <a:pt x="168582" y="110259"/>
                    <a:pt x="61606" y="110259"/>
                  </a:cubicBezTo>
                  <a:cubicBezTo>
                    <a:pt x="61606" y="110259"/>
                    <a:pt x="61606" y="110259"/>
                    <a:pt x="61606" y="126093"/>
                  </a:cubicBezTo>
                  <a:cubicBezTo>
                    <a:pt x="61606" y="126093"/>
                    <a:pt x="61606" y="126093"/>
                    <a:pt x="36512" y="126093"/>
                  </a:cubicBezTo>
                  <a:cubicBezTo>
                    <a:pt x="36512" y="126093"/>
                    <a:pt x="36512" y="126093"/>
                    <a:pt x="36512" y="99703"/>
                  </a:cubicBezTo>
                  <a:cubicBezTo>
                    <a:pt x="36512" y="90467"/>
                    <a:pt x="45757" y="82550"/>
                    <a:pt x="55002" y="82550"/>
                  </a:cubicBezTo>
                  <a:close/>
                  <a:moveTo>
                    <a:pt x="102729" y="0"/>
                  </a:moveTo>
                  <a:cubicBezTo>
                    <a:pt x="102729" y="0"/>
                    <a:pt x="102729" y="0"/>
                    <a:pt x="305260" y="0"/>
                  </a:cubicBezTo>
                  <a:cubicBezTo>
                    <a:pt x="323672" y="0"/>
                    <a:pt x="338138" y="15802"/>
                    <a:pt x="338138" y="34237"/>
                  </a:cubicBezTo>
                  <a:cubicBezTo>
                    <a:pt x="338138" y="34237"/>
                    <a:pt x="338138" y="34237"/>
                    <a:pt x="338138" y="188306"/>
                  </a:cubicBezTo>
                  <a:cubicBezTo>
                    <a:pt x="338138" y="206741"/>
                    <a:pt x="323672" y="221226"/>
                    <a:pt x="305260" y="221226"/>
                  </a:cubicBezTo>
                  <a:cubicBezTo>
                    <a:pt x="305260" y="221226"/>
                    <a:pt x="305260" y="221226"/>
                    <a:pt x="234242" y="221226"/>
                  </a:cubicBezTo>
                  <a:cubicBezTo>
                    <a:pt x="234242" y="221226"/>
                    <a:pt x="234242" y="221226"/>
                    <a:pt x="234242" y="243612"/>
                  </a:cubicBezTo>
                  <a:cubicBezTo>
                    <a:pt x="234242" y="243612"/>
                    <a:pt x="234242" y="243612"/>
                    <a:pt x="265806" y="243612"/>
                  </a:cubicBezTo>
                  <a:cubicBezTo>
                    <a:pt x="272381" y="243612"/>
                    <a:pt x="277642" y="250196"/>
                    <a:pt x="277642" y="256780"/>
                  </a:cubicBezTo>
                  <a:cubicBezTo>
                    <a:pt x="277642" y="256780"/>
                    <a:pt x="277642" y="256780"/>
                    <a:pt x="277642" y="272582"/>
                  </a:cubicBezTo>
                  <a:cubicBezTo>
                    <a:pt x="277642" y="280483"/>
                    <a:pt x="272381" y="285750"/>
                    <a:pt x="265806" y="285750"/>
                  </a:cubicBezTo>
                  <a:cubicBezTo>
                    <a:pt x="265806" y="285750"/>
                    <a:pt x="265806" y="285750"/>
                    <a:pt x="205309" y="285750"/>
                  </a:cubicBezTo>
                  <a:cubicBezTo>
                    <a:pt x="207940" y="280483"/>
                    <a:pt x="209255" y="275216"/>
                    <a:pt x="210570" y="269948"/>
                  </a:cubicBezTo>
                  <a:cubicBezTo>
                    <a:pt x="210570" y="268632"/>
                    <a:pt x="210570" y="213325"/>
                    <a:pt x="210570" y="213325"/>
                  </a:cubicBezTo>
                  <a:cubicBezTo>
                    <a:pt x="210570" y="213325"/>
                    <a:pt x="210570" y="213325"/>
                    <a:pt x="210570" y="172504"/>
                  </a:cubicBezTo>
                  <a:cubicBezTo>
                    <a:pt x="210570" y="172504"/>
                    <a:pt x="210570" y="172504"/>
                    <a:pt x="296054" y="172504"/>
                  </a:cubicBezTo>
                  <a:cubicBezTo>
                    <a:pt x="303945" y="172504"/>
                    <a:pt x="309205" y="165920"/>
                    <a:pt x="309205" y="159335"/>
                  </a:cubicBezTo>
                  <a:cubicBezTo>
                    <a:pt x="309205" y="159335"/>
                    <a:pt x="309205" y="159335"/>
                    <a:pt x="309205" y="39504"/>
                  </a:cubicBezTo>
                  <a:cubicBezTo>
                    <a:pt x="309205" y="32920"/>
                    <a:pt x="303945" y="27653"/>
                    <a:pt x="296054" y="27653"/>
                  </a:cubicBezTo>
                  <a:cubicBezTo>
                    <a:pt x="296054" y="27653"/>
                    <a:pt x="296054" y="27653"/>
                    <a:pt x="110620" y="27653"/>
                  </a:cubicBezTo>
                  <a:cubicBezTo>
                    <a:pt x="104044" y="27653"/>
                    <a:pt x="98783" y="32920"/>
                    <a:pt x="98783" y="39504"/>
                  </a:cubicBezTo>
                  <a:cubicBezTo>
                    <a:pt x="98783" y="39504"/>
                    <a:pt x="98783" y="39504"/>
                    <a:pt x="98783" y="65841"/>
                  </a:cubicBezTo>
                  <a:cubicBezTo>
                    <a:pt x="98783" y="65841"/>
                    <a:pt x="98783" y="65841"/>
                    <a:pt x="69850" y="65841"/>
                  </a:cubicBezTo>
                  <a:cubicBezTo>
                    <a:pt x="69850" y="65841"/>
                    <a:pt x="69850" y="65841"/>
                    <a:pt x="69850" y="34237"/>
                  </a:cubicBezTo>
                  <a:cubicBezTo>
                    <a:pt x="69850" y="15802"/>
                    <a:pt x="84317" y="0"/>
                    <a:pt x="1027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lIns="91440" tIns="45720" rIns="91440" bIns="45720" anchor="ctr"/>
            <a:lstStyle/>
            <a:p>
              <a:pPr algn="ctr"/>
              <a:endParaRPr/>
            </a:p>
          </p:txBody>
        </p:sp>
      </p:grp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B1473453-C9D9-40E4-99B4-425C5EDAFA8E}"/>
              </a:ext>
            </a:extLst>
          </p:cNvPr>
          <p:cNvGrpSpPr/>
          <p:nvPr/>
        </p:nvGrpSpPr>
        <p:grpSpPr>
          <a:xfrm>
            <a:off x="8507726" y="2427155"/>
            <a:ext cx="3011174" cy="2410090"/>
            <a:chOff x="8507726" y="1781570"/>
            <a:chExt cx="3011174" cy="2410090"/>
          </a:xfrm>
        </p:grpSpPr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B9DFE516-5F85-4B90-8EE7-ED59A4B9DCF0}"/>
                </a:ext>
              </a:extLst>
            </p:cNvPr>
            <p:cNvGrpSpPr/>
            <p:nvPr/>
          </p:nvGrpSpPr>
          <p:grpSpPr>
            <a:xfrm>
              <a:off x="8507726" y="1781570"/>
              <a:ext cx="3011174" cy="1017430"/>
              <a:chOff x="8661000" y="1781570"/>
              <a:chExt cx="2295000" cy="1017430"/>
            </a:xfrm>
          </p:grpSpPr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BBEADFBC-7595-4655-95A6-E7F432A75DA0}"/>
                  </a:ext>
                </a:extLst>
              </p:cNvPr>
              <p:cNvSpPr txBox="1"/>
              <p:nvPr/>
            </p:nvSpPr>
            <p:spPr>
              <a:xfrm>
                <a:off x="8661000" y="1781570"/>
                <a:ext cx="2295000" cy="39251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91440" tIns="45720" rIns="91440" bIns="45720" anchor="ctr" anchorCtr="0">
                <a:normAutofit lnSpcReduction="10000"/>
              </a:bodyPr>
              <a:lstStyle/>
              <a:p>
                <a:pPr>
                  <a:buSzPct val="25000"/>
                </a:pPr>
                <a:r>
                  <a:rPr lang="de-DE" altLang="zh-CN" sz="2000" b="1" dirty="0">
                    <a:sym typeface="Calibri"/>
                  </a:rPr>
                  <a:t>...</a:t>
                </a:r>
                <a:r>
                  <a:rPr lang="zh-CN" altLang="en-US" sz="2000" b="1" dirty="0">
                    <a:sym typeface="Calibri"/>
                  </a:rPr>
                  <a:t>季度</a:t>
                </a:r>
                <a:endParaRPr lang="de-DE" altLang="zh-CN" sz="2000" b="1" dirty="0">
                  <a:sym typeface="Calibri"/>
                </a:endParaRPr>
              </a:p>
            </p:txBody>
          </p:sp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770A5C14-A3A7-4F35-AA69-00B5FCC951E3}"/>
                  </a:ext>
                </a:extLst>
              </p:cNvPr>
              <p:cNvSpPr txBox="1"/>
              <p:nvPr/>
            </p:nvSpPr>
            <p:spPr>
              <a:xfrm>
                <a:off x="8661000" y="2174082"/>
                <a:ext cx="2295000" cy="6249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40" tIns="45720" rIns="91440" bIns="45720" anchor="t" anchorCtr="0">
                <a:noAutofit/>
              </a:bodyPr>
              <a:lstStyle/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>
                    <a:ea typeface="Calibri"/>
                    <a:cs typeface="Calibri"/>
                    <a:sym typeface="Calibri"/>
                  </a:rPr>
                  <a:t>Copy paste fonts. Choose the only option to retain text.…</a:t>
                </a:r>
                <a:r>
                  <a:rPr lang="de-DE" sz="1200" dirty="0">
                    <a:ea typeface="Calibri"/>
                    <a:cs typeface="Calibri"/>
                    <a:sym typeface="Calibri"/>
                  </a:rPr>
                  <a:t>.</a:t>
                </a:r>
              </a:p>
            </p:txBody>
          </p:sp>
        </p:grp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083EFE47-F6BB-4056-A951-D22707B1B1A4}"/>
                </a:ext>
              </a:extLst>
            </p:cNvPr>
            <p:cNvGrpSpPr/>
            <p:nvPr/>
          </p:nvGrpSpPr>
          <p:grpSpPr>
            <a:xfrm>
              <a:off x="8507726" y="3174230"/>
              <a:ext cx="3011174" cy="1017430"/>
              <a:chOff x="8661000" y="1781570"/>
              <a:chExt cx="2295000" cy="1017430"/>
            </a:xfrm>
          </p:grpSpPr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D5CD6700-3258-4578-9316-D53D7B0D9E44}"/>
                  </a:ext>
                </a:extLst>
              </p:cNvPr>
              <p:cNvSpPr txBox="1"/>
              <p:nvPr/>
            </p:nvSpPr>
            <p:spPr>
              <a:xfrm>
                <a:off x="8661000" y="1781570"/>
                <a:ext cx="2295000" cy="39251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91440" tIns="45720" rIns="91440" bIns="45720" anchor="ctr" anchorCtr="0">
                <a:normAutofit lnSpcReduction="10000"/>
              </a:bodyPr>
              <a:lstStyle/>
              <a:p>
                <a:pPr>
                  <a:buSzPct val="25000"/>
                </a:pPr>
                <a:r>
                  <a:rPr lang="de-DE" altLang="zh-CN" sz="2000" b="1" dirty="0">
                    <a:sym typeface="Calibri"/>
                  </a:rPr>
                  <a:t>...</a:t>
                </a:r>
                <a:r>
                  <a:rPr lang="zh-CN" altLang="en-US" sz="2000" b="1" dirty="0">
                    <a:sym typeface="Calibri"/>
                  </a:rPr>
                  <a:t>季度</a:t>
                </a:r>
                <a:endParaRPr lang="de-DE" altLang="zh-CN" sz="2000" b="1" dirty="0">
                  <a:sym typeface="Calibri"/>
                </a:endParaRPr>
              </a:p>
            </p:txBody>
          </p:sp>
          <p:sp>
            <p:nvSpPr>
              <p:cNvPr id="21" name="文本框 20">
                <a:extLst>
                  <a:ext uri="{FF2B5EF4-FFF2-40B4-BE49-F238E27FC236}">
                    <a16:creationId xmlns:a16="http://schemas.microsoft.com/office/drawing/2014/main" id="{1CF20456-974E-4601-81EA-52B1D7E89A36}"/>
                  </a:ext>
                </a:extLst>
              </p:cNvPr>
              <p:cNvSpPr txBox="1"/>
              <p:nvPr/>
            </p:nvSpPr>
            <p:spPr>
              <a:xfrm>
                <a:off x="8661000" y="2174082"/>
                <a:ext cx="2295000" cy="6249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40" tIns="45720" rIns="91440" bIns="45720" anchor="t" anchorCtr="0">
                <a:noAutofit/>
              </a:bodyPr>
              <a:lstStyle/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>
                    <a:ea typeface="Calibri"/>
                    <a:cs typeface="Calibri"/>
                    <a:sym typeface="Calibri"/>
                  </a:rPr>
                  <a:t>Copy paste fonts. Choose the only option to retain text.…</a:t>
                </a:r>
                <a:r>
                  <a:rPr lang="de-DE" sz="1200" dirty="0">
                    <a:ea typeface="Calibri"/>
                    <a:cs typeface="Calibri"/>
                    <a:sym typeface="Calibri"/>
                  </a:rPr>
                  <a:t>.</a:t>
                </a:r>
              </a:p>
            </p:txBody>
          </p:sp>
        </p:grpSp>
      </p:grp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3AC8DFB8-A436-49FF-974D-94CBC576B7BB}"/>
              </a:ext>
            </a:extLst>
          </p:cNvPr>
          <p:cNvGrpSpPr/>
          <p:nvPr/>
        </p:nvGrpSpPr>
        <p:grpSpPr>
          <a:xfrm>
            <a:off x="660400" y="1730825"/>
            <a:ext cx="3011174" cy="3802750"/>
            <a:chOff x="8507726" y="1781570"/>
            <a:chExt cx="3011174" cy="3802750"/>
          </a:xfrm>
        </p:grpSpPr>
        <p:grpSp>
          <p:nvGrpSpPr>
            <p:cNvPr id="25" name="组合 24">
              <a:extLst>
                <a:ext uri="{FF2B5EF4-FFF2-40B4-BE49-F238E27FC236}">
                  <a16:creationId xmlns:a16="http://schemas.microsoft.com/office/drawing/2014/main" id="{990F377A-F94C-4A1A-A0EA-22EC7A4E1DEB}"/>
                </a:ext>
              </a:extLst>
            </p:cNvPr>
            <p:cNvGrpSpPr/>
            <p:nvPr/>
          </p:nvGrpSpPr>
          <p:grpSpPr>
            <a:xfrm>
              <a:off x="8507726" y="1781570"/>
              <a:ext cx="3011174" cy="1017430"/>
              <a:chOff x="8661000" y="1781570"/>
              <a:chExt cx="2295000" cy="1017430"/>
            </a:xfrm>
          </p:grpSpPr>
          <p:sp>
            <p:nvSpPr>
              <p:cNvPr id="32" name="文本框 31">
                <a:extLst>
                  <a:ext uri="{FF2B5EF4-FFF2-40B4-BE49-F238E27FC236}">
                    <a16:creationId xmlns:a16="http://schemas.microsoft.com/office/drawing/2014/main" id="{C5FC4F6C-D628-4B3B-B813-5A08CE112DF2}"/>
                  </a:ext>
                </a:extLst>
              </p:cNvPr>
              <p:cNvSpPr txBox="1"/>
              <p:nvPr/>
            </p:nvSpPr>
            <p:spPr>
              <a:xfrm>
                <a:off x="8661000" y="1781570"/>
                <a:ext cx="2295000" cy="39251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91440" tIns="45720" rIns="91440" bIns="45720" anchor="ctr" anchorCtr="0">
                <a:normAutofit lnSpcReduction="10000"/>
              </a:bodyPr>
              <a:lstStyle/>
              <a:p>
                <a:pPr>
                  <a:buSzPct val="25000"/>
                </a:pPr>
                <a:r>
                  <a:rPr lang="de-DE" sz="2000" b="1" dirty="0">
                    <a:sym typeface="Calibri"/>
                  </a:rPr>
                  <a:t>...</a:t>
                </a:r>
                <a:r>
                  <a:rPr lang="zh-CN" altLang="en-US" sz="2000" b="1" dirty="0">
                    <a:sym typeface="Calibri"/>
                  </a:rPr>
                  <a:t>季度</a:t>
                </a:r>
                <a:endParaRPr lang="de-DE" sz="2000" b="1" dirty="0">
                  <a:sym typeface="Calibri"/>
                </a:endParaRPr>
              </a:p>
            </p:txBody>
          </p:sp>
          <p:sp>
            <p:nvSpPr>
              <p:cNvPr id="33" name="文本框 32">
                <a:extLst>
                  <a:ext uri="{FF2B5EF4-FFF2-40B4-BE49-F238E27FC236}">
                    <a16:creationId xmlns:a16="http://schemas.microsoft.com/office/drawing/2014/main" id="{2CAC7CE1-94C2-4D5E-89A7-C6BC9C738125}"/>
                  </a:ext>
                </a:extLst>
              </p:cNvPr>
              <p:cNvSpPr txBox="1"/>
              <p:nvPr/>
            </p:nvSpPr>
            <p:spPr>
              <a:xfrm>
                <a:off x="8661000" y="2174082"/>
                <a:ext cx="2295000" cy="6249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40" tIns="45720" rIns="91440" bIns="45720" anchor="t" anchorCtr="0">
                <a:noAutofit/>
              </a:bodyPr>
              <a:lstStyle/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>
                    <a:ea typeface="Calibri"/>
                    <a:cs typeface="Calibri"/>
                    <a:sym typeface="Calibri"/>
                  </a:rPr>
                  <a:t>Copy paste fonts. Choose the only option to retain text.…</a:t>
                </a:r>
                <a:r>
                  <a:rPr lang="de-DE" sz="1200" dirty="0">
                    <a:ea typeface="Calibri"/>
                    <a:cs typeface="Calibri"/>
                    <a:sym typeface="Calibri"/>
                  </a:rPr>
                  <a:t>.</a:t>
                </a:r>
              </a:p>
            </p:txBody>
          </p:sp>
        </p:grpSp>
        <p:grpSp>
          <p:nvGrpSpPr>
            <p:cNvPr id="26" name="组合 25">
              <a:extLst>
                <a:ext uri="{FF2B5EF4-FFF2-40B4-BE49-F238E27FC236}">
                  <a16:creationId xmlns:a16="http://schemas.microsoft.com/office/drawing/2014/main" id="{B0C7F0F7-F6FA-4DAD-99AC-9F031FC664A6}"/>
                </a:ext>
              </a:extLst>
            </p:cNvPr>
            <p:cNvGrpSpPr/>
            <p:nvPr/>
          </p:nvGrpSpPr>
          <p:grpSpPr>
            <a:xfrm>
              <a:off x="8507726" y="3174230"/>
              <a:ext cx="3011174" cy="1017430"/>
              <a:chOff x="8661000" y="1781570"/>
              <a:chExt cx="2295000" cy="1017430"/>
            </a:xfrm>
          </p:grpSpPr>
          <p:sp>
            <p:nvSpPr>
              <p:cNvPr id="30" name="文本框 29">
                <a:extLst>
                  <a:ext uri="{FF2B5EF4-FFF2-40B4-BE49-F238E27FC236}">
                    <a16:creationId xmlns:a16="http://schemas.microsoft.com/office/drawing/2014/main" id="{35A0D0E7-2B2A-4086-B35C-E9F7E2B78D7F}"/>
                  </a:ext>
                </a:extLst>
              </p:cNvPr>
              <p:cNvSpPr txBox="1"/>
              <p:nvPr/>
            </p:nvSpPr>
            <p:spPr>
              <a:xfrm>
                <a:off x="8661000" y="1781570"/>
                <a:ext cx="2295000" cy="39251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lIns="91440" tIns="45720" rIns="91440" bIns="45720" anchor="ctr" anchorCtr="0">
                <a:normAutofit lnSpcReduction="10000"/>
              </a:bodyPr>
              <a:lstStyle/>
              <a:p>
                <a:pPr>
                  <a:buSzPct val="25000"/>
                </a:pPr>
                <a:r>
                  <a:rPr lang="de-DE" altLang="zh-CN" sz="2000" b="1" dirty="0">
                    <a:solidFill>
                      <a:schemeClr val="bg1"/>
                    </a:solidFill>
                    <a:sym typeface="Calibri"/>
                  </a:rPr>
                  <a:t>...</a:t>
                </a:r>
                <a:r>
                  <a:rPr lang="zh-CN" altLang="en-US" sz="2000" b="1" dirty="0">
                    <a:solidFill>
                      <a:schemeClr val="bg1"/>
                    </a:solidFill>
                    <a:sym typeface="Calibri"/>
                  </a:rPr>
                  <a:t>季度</a:t>
                </a:r>
                <a:endParaRPr lang="de-DE" altLang="zh-CN" sz="2000" b="1" dirty="0">
                  <a:solidFill>
                    <a:schemeClr val="bg1"/>
                  </a:solidFill>
                  <a:sym typeface="Calibri"/>
                </a:endParaRPr>
              </a:p>
            </p:txBody>
          </p:sp>
          <p:sp>
            <p:nvSpPr>
              <p:cNvPr id="31" name="文本框 30">
                <a:extLst>
                  <a:ext uri="{FF2B5EF4-FFF2-40B4-BE49-F238E27FC236}">
                    <a16:creationId xmlns:a16="http://schemas.microsoft.com/office/drawing/2014/main" id="{0CE39A63-3B7D-4E3F-90B3-841946CCBEFE}"/>
                  </a:ext>
                </a:extLst>
              </p:cNvPr>
              <p:cNvSpPr txBox="1"/>
              <p:nvPr/>
            </p:nvSpPr>
            <p:spPr>
              <a:xfrm>
                <a:off x="8661000" y="2174082"/>
                <a:ext cx="2295000" cy="6249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40" tIns="45720" rIns="91440" bIns="45720" anchor="t" anchorCtr="0">
                <a:noAutofit/>
              </a:bodyPr>
              <a:lstStyle/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>
                    <a:ea typeface="Calibri"/>
                    <a:cs typeface="Calibri"/>
                    <a:sym typeface="Calibri"/>
                  </a:rPr>
                  <a:t>Copy paste fonts. Choose the only option to retain text.…</a:t>
                </a:r>
                <a:r>
                  <a:rPr lang="de-DE" sz="1200" dirty="0">
                    <a:ea typeface="Calibri"/>
                    <a:cs typeface="Calibri"/>
                    <a:sym typeface="Calibri"/>
                  </a:rPr>
                  <a:t>.</a:t>
                </a:r>
              </a:p>
            </p:txBody>
          </p:sp>
        </p:grpSp>
        <p:grpSp>
          <p:nvGrpSpPr>
            <p:cNvPr id="27" name="组合 26">
              <a:extLst>
                <a:ext uri="{FF2B5EF4-FFF2-40B4-BE49-F238E27FC236}">
                  <a16:creationId xmlns:a16="http://schemas.microsoft.com/office/drawing/2014/main" id="{4F9994E3-9383-4CF6-BC80-8FFB5F5379B6}"/>
                </a:ext>
              </a:extLst>
            </p:cNvPr>
            <p:cNvGrpSpPr/>
            <p:nvPr/>
          </p:nvGrpSpPr>
          <p:grpSpPr>
            <a:xfrm>
              <a:off x="8507726" y="4566890"/>
              <a:ext cx="3011174" cy="1017430"/>
              <a:chOff x="8661000" y="1781570"/>
              <a:chExt cx="2295000" cy="1017430"/>
            </a:xfrm>
          </p:grpSpPr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F87E1577-EE6E-4D22-A3A2-53F010B816D5}"/>
                  </a:ext>
                </a:extLst>
              </p:cNvPr>
              <p:cNvSpPr txBox="1"/>
              <p:nvPr/>
            </p:nvSpPr>
            <p:spPr>
              <a:xfrm>
                <a:off x="8661000" y="1781570"/>
                <a:ext cx="2295000" cy="39251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91440" tIns="45720" rIns="91440" bIns="45720" anchor="ctr" anchorCtr="0">
                <a:normAutofit lnSpcReduction="10000"/>
              </a:bodyPr>
              <a:lstStyle/>
              <a:p>
                <a:pPr>
                  <a:buSzPct val="25000"/>
                </a:pPr>
                <a:r>
                  <a:rPr lang="de-DE" altLang="zh-CN" sz="2000" b="1" dirty="0">
                    <a:sym typeface="Calibri"/>
                  </a:rPr>
                  <a:t>...</a:t>
                </a:r>
                <a:r>
                  <a:rPr lang="zh-CN" altLang="en-US" sz="2000" b="1" dirty="0">
                    <a:sym typeface="Calibri"/>
                  </a:rPr>
                  <a:t>季度</a:t>
                </a:r>
                <a:endParaRPr lang="de-DE" altLang="zh-CN" sz="2000" b="1" dirty="0">
                  <a:sym typeface="Calibri"/>
                </a:endParaRPr>
              </a:p>
            </p:txBody>
          </p:sp>
          <p:sp>
            <p:nvSpPr>
              <p:cNvPr id="29" name="文本框 28">
                <a:extLst>
                  <a:ext uri="{FF2B5EF4-FFF2-40B4-BE49-F238E27FC236}">
                    <a16:creationId xmlns:a16="http://schemas.microsoft.com/office/drawing/2014/main" id="{66262AA3-2EF6-4A7F-8769-1CE7B68AE4A0}"/>
                  </a:ext>
                </a:extLst>
              </p:cNvPr>
              <p:cNvSpPr txBox="1"/>
              <p:nvPr/>
            </p:nvSpPr>
            <p:spPr>
              <a:xfrm>
                <a:off x="8661000" y="2174082"/>
                <a:ext cx="2295000" cy="6249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1440" tIns="45720" rIns="91440" bIns="45720" anchor="t" anchorCtr="0">
                <a:noAutofit/>
              </a:bodyPr>
              <a:lstStyle/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>
                    <a:ea typeface="Calibri"/>
                    <a:cs typeface="Calibri"/>
                    <a:sym typeface="Calibri"/>
                  </a:rPr>
                  <a:t>Copy paste fonts. Choose the only option to retain text.…</a:t>
                </a:r>
                <a:r>
                  <a:rPr lang="de-DE" sz="1200" dirty="0">
                    <a:ea typeface="Calibri"/>
                    <a:cs typeface="Calibri"/>
                    <a:sym typeface="Calibri"/>
                  </a:rPr>
                  <a:t>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863979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2791845-5794-4DE5-87D6-2B19D1E19C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完成计划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C78AE8E-673D-44FD-9D24-0CE55BC027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220822-440B-4F55-8553-DAB5C2FE95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18401D0-924F-4516-81DA-B875B61A43B2}"/>
              </a:ext>
            </a:extLst>
          </p:cNvPr>
          <p:cNvGrpSpPr>
            <a:grpSpLocks noChangeAspect="1"/>
          </p:cNvGrpSpPr>
          <p:nvPr/>
        </p:nvGrpSpPr>
        <p:grpSpPr>
          <a:xfrm>
            <a:off x="660399" y="1130299"/>
            <a:ext cx="10860883" cy="5003801"/>
            <a:chOff x="660399" y="1130299"/>
            <a:chExt cx="10860883" cy="5003801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8984520B-E0C4-4AB9-B4F5-BEF3461245F3}"/>
                </a:ext>
              </a:extLst>
            </p:cNvPr>
            <p:cNvCxnSpPr/>
            <p:nvPr/>
          </p:nvCxnSpPr>
          <p:spPr>
            <a:xfrm>
              <a:off x="670719" y="4428692"/>
              <a:ext cx="1085056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77268387-6321-4D6F-B01D-C58B53A5B1FC}"/>
                </a:ext>
              </a:extLst>
            </p:cNvPr>
            <p:cNvSpPr txBox="1"/>
            <p:nvPr/>
          </p:nvSpPr>
          <p:spPr>
            <a:xfrm>
              <a:off x="660399" y="1130299"/>
              <a:ext cx="10858500" cy="58192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ctr">
                <a:buSzPct val="25000"/>
              </a:pPr>
              <a:r>
                <a:rPr lang="en-US" sz="2800" dirty="0">
                  <a:solidFill>
                    <a:srgbClr val="3A3838"/>
                  </a:solidFill>
                </a:rPr>
                <a:t>Unified fonts make reading more fluent.</a:t>
              </a:r>
            </a:p>
          </p:txBody>
        </p: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A8F83753-C47B-4245-9009-EEE1317ADA15}"/>
                </a:ext>
              </a:extLst>
            </p:cNvPr>
            <p:cNvSpPr txBox="1"/>
            <p:nvPr/>
          </p:nvSpPr>
          <p:spPr>
            <a:xfrm>
              <a:off x="660401" y="1894706"/>
              <a:ext cx="10858496" cy="59448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  <a:buSzPct val="25000"/>
              </a:pPr>
              <a:r>
                <a:rPr lang="en-US" sz="1100" dirty="0"/>
                <a:t>Theme color makes PPT more convenient to change.</a:t>
              </a:r>
            </a:p>
            <a:p>
              <a:pPr algn="ctr">
                <a:lnSpc>
                  <a:spcPct val="150000"/>
                </a:lnSpc>
                <a:buSzPct val="25000"/>
              </a:pPr>
              <a:r>
                <a:rPr lang="en-US" sz="1100" dirty="0"/>
                <a:t>Adjust the spacing to adapt to Chinese typesetting, use the reference line in PPT.</a:t>
              </a:r>
            </a:p>
          </p:txBody>
        </p:sp>
        <p:sp>
          <p:nvSpPr>
            <p:cNvPr id="9" name="矩形: 剪去左右顶角 8">
              <a:extLst>
                <a:ext uri="{FF2B5EF4-FFF2-40B4-BE49-F238E27FC236}">
                  <a16:creationId xmlns:a16="http://schemas.microsoft.com/office/drawing/2014/main" id="{52EE0947-DA48-4AAC-B29D-F7B25EBE074D}"/>
                </a:ext>
              </a:extLst>
            </p:cNvPr>
            <p:cNvSpPr/>
            <p:nvPr/>
          </p:nvSpPr>
          <p:spPr>
            <a:xfrm>
              <a:off x="660400" y="5164808"/>
              <a:ext cx="2905791" cy="969292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dirty="0"/>
                <a:t>Supporting text here. 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200" dirty="0"/>
                <a:t>When you copy &amp; paste, choose "keep text only" option.</a:t>
              </a: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65CB939A-2AE9-4FBA-A787-D4636F8D3B06}"/>
                </a:ext>
              </a:extLst>
            </p:cNvPr>
            <p:cNvSpPr txBox="1"/>
            <p:nvPr/>
          </p:nvSpPr>
          <p:spPr bwMode="auto">
            <a:xfrm>
              <a:off x="660400" y="4632580"/>
              <a:ext cx="2905791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 algn="ctr"/>
              <a:r>
                <a:rPr lang="en-US" altLang="zh-CN" b="1" dirty="0"/>
                <a:t>…</a:t>
              </a:r>
              <a:r>
                <a:rPr lang="zh-CN" altLang="en-US" b="1" dirty="0"/>
                <a:t>计划</a:t>
              </a:r>
            </a:p>
          </p:txBody>
        </p: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DEBF45FB-32B0-4109-AE8D-343DBDB58590}"/>
                </a:ext>
              </a:extLst>
            </p:cNvPr>
            <p:cNvGrpSpPr/>
            <p:nvPr/>
          </p:nvGrpSpPr>
          <p:grpSpPr>
            <a:xfrm>
              <a:off x="1593183" y="3144176"/>
              <a:ext cx="1040224" cy="1339354"/>
              <a:chOff x="2300116" y="3144176"/>
              <a:chExt cx="1040224" cy="1339354"/>
            </a:xfrm>
          </p:grpSpPr>
          <p:grpSp>
            <p:nvGrpSpPr>
              <p:cNvPr id="27" name="组合 26">
                <a:extLst>
                  <a:ext uri="{FF2B5EF4-FFF2-40B4-BE49-F238E27FC236}">
                    <a16:creationId xmlns:a16="http://schemas.microsoft.com/office/drawing/2014/main" id="{7FEE7DDD-8318-41D2-AD75-9FC5C96D86DC}"/>
                  </a:ext>
                </a:extLst>
              </p:cNvPr>
              <p:cNvGrpSpPr/>
              <p:nvPr/>
            </p:nvGrpSpPr>
            <p:grpSpPr>
              <a:xfrm>
                <a:off x="2300116" y="3144176"/>
                <a:ext cx="1040224" cy="1208195"/>
                <a:chOff x="2300116" y="2887001"/>
                <a:chExt cx="1040224" cy="1208195"/>
              </a:xfrm>
            </p:grpSpPr>
            <p:sp>
              <p:nvSpPr>
                <p:cNvPr id="29" name="等腰三角形 28">
                  <a:extLst>
                    <a:ext uri="{FF2B5EF4-FFF2-40B4-BE49-F238E27FC236}">
                      <a16:creationId xmlns:a16="http://schemas.microsoft.com/office/drawing/2014/main" id="{09CA4E7C-E445-41A5-ADF3-ACD9941DF0C8}"/>
                    </a:ext>
                  </a:extLst>
                </p:cNvPr>
                <p:cNvSpPr/>
                <p:nvPr/>
              </p:nvSpPr>
              <p:spPr>
                <a:xfrm flipV="1">
                  <a:off x="2313056" y="3568699"/>
                  <a:ext cx="1014344" cy="526497"/>
                </a:xfrm>
                <a:prstGeom prst="triangl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 fontScale="77500" lnSpcReduction="20000"/>
                </a:bodyPr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30" name="椭圆 29">
                  <a:extLst>
                    <a:ext uri="{FF2B5EF4-FFF2-40B4-BE49-F238E27FC236}">
                      <a16:creationId xmlns:a16="http://schemas.microsoft.com/office/drawing/2014/main" id="{8E917C46-F5BE-4283-BEE9-8EDA25ECF5BD}"/>
                    </a:ext>
                  </a:extLst>
                </p:cNvPr>
                <p:cNvSpPr/>
                <p:nvPr/>
              </p:nvSpPr>
              <p:spPr>
                <a:xfrm>
                  <a:off x="2300116" y="2887001"/>
                  <a:ext cx="1040224" cy="1040224"/>
                </a:xfrm>
                <a:prstGeom prst="ellipse">
                  <a:avLst/>
                </a:prstGeom>
                <a:solidFill>
                  <a:schemeClr val="bg1"/>
                </a:solidFill>
                <a:ln w="3810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/>
                </a:bodyPr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31" name="任意多边形: 形状 30">
                  <a:extLst>
                    <a:ext uri="{FF2B5EF4-FFF2-40B4-BE49-F238E27FC236}">
                      <a16:creationId xmlns:a16="http://schemas.microsoft.com/office/drawing/2014/main" id="{F388FB07-F8BC-4062-9FD2-F0210539E01F}"/>
                    </a:ext>
                  </a:extLst>
                </p:cNvPr>
                <p:cNvSpPr/>
                <p:nvPr/>
              </p:nvSpPr>
              <p:spPr bwMode="auto">
                <a:xfrm>
                  <a:off x="2587803" y="3183279"/>
                  <a:ext cx="464850" cy="447669"/>
                </a:xfrm>
                <a:custGeom>
                  <a:avLst/>
                  <a:gdLst>
                    <a:gd name="connsiteX0" fmla="*/ 216243 w 609050"/>
                    <a:gd name="connsiteY0" fmla="*/ 412730 h 586540"/>
                    <a:gd name="connsiteX1" fmla="*/ 216243 w 609050"/>
                    <a:gd name="connsiteY1" fmla="*/ 456594 h 586540"/>
                    <a:gd name="connsiteX2" fmla="*/ 293953 w 609050"/>
                    <a:gd name="connsiteY2" fmla="*/ 456594 h 586540"/>
                    <a:gd name="connsiteX3" fmla="*/ 293953 w 609050"/>
                    <a:gd name="connsiteY3" fmla="*/ 412730 h 586540"/>
                    <a:gd name="connsiteX4" fmla="*/ 69884 w 609050"/>
                    <a:gd name="connsiteY4" fmla="*/ 412730 h 586540"/>
                    <a:gd name="connsiteX5" fmla="*/ 69884 w 609050"/>
                    <a:gd name="connsiteY5" fmla="*/ 456594 h 586540"/>
                    <a:gd name="connsiteX6" fmla="*/ 147595 w 609050"/>
                    <a:gd name="connsiteY6" fmla="*/ 456594 h 586540"/>
                    <a:gd name="connsiteX7" fmla="*/ 147595 w 609050"/>
                    <a:gd name="connsiteY7" fmla="*/ 412730 h 586540"/>
                    <a:gd name="connsiteX8" fmla="*/ 460769 w 609050"/>
                    <a:gd name="connsiteY8" fmla="*/ 376268 h 586540"/>
                    <a:gd name="connsiteX9" fmla="*/ 460769 w 609050"/>
                    <a:gd name="connsiteY9" fmla="*/ 414786 h 586540"/>
                    <a:gd name="connsiteX10" fmla="*/ 555916 w 609050"/>
                    <a:gd name="connsiteY10" fmla="*/ 414786 h 586540"/>
                    <a:gd name="connsiteX11" fmla="*/ 555916 w 609050"/>
                    <a:gd name="connsiteY11" fmla="*/ 376268 h 586540"/>
                    <a:gd name="connsiteX12" fmla="*/ 216243 w 609050"/>
                    <a:gd name="connsiteY12" fmla="*/ 339670 h 586540"/>
                    <a:gd name="connsiteX13" fmla="*/ 216243 w 609050"/>
                    <a:gd name="connsiteY13" fmla="*/ 383533 h 586540"/>
                    <a:gd name="connsiteX14" fmla="*/ 293953 w 609050"/>
                    <a:gd name="connsiteY14" fmla="*/ 383533 h 586540"/>
                    <a:gd name="connsiteX15" fmla="*/ 293953 w 609050"/>
                    <a:gd name="connsiteY15" fmla="*/ 339670 h 586540"/>
                    <a:gd name="connsiteX16" fmla="*/ 69884 w 609050"/>
                    <a:gd name="connsiteY16" fmla="*/ 339670 h 586540"/>
                    <a:gd name="connsiteX17" fmla="*/ 69884 w 609050"/>
                    <a:gd name="connsiteY17" fmla="*/ 383533 h 586540"/>
                    <a:gd name="connsiteX18" fmla="*/ 147595 w 609050"/>
                    <a:gd name="connsiteY18" fmla="*/ 383533 h 586540"/>
                    <a:gd name="connsiteX19" fmla="*/ 147595 w 609050"/>
                    <a:gd name="connsiteY19" fmla="*/ 339670 h 586540"/>
                    <a:gd name="connsiteX20" fmla="*/ 460769 w 609050"/>
                    <a:gd name="connsiteY20" fmla="*/ 303071 h 586540"/>
                    <a:gd name="connsiteX21" fmla="*/ 460769 w 609050"/>
                    <a:gd name="connsiteY21" fmla="*/ 341726 h 586540"/>
                    <a:gd name="connsiteX22" fmla="*/ 555916 w 609050"/>
                    <a:gd name="connsiteY22" fmla="*/ 341726 h 586540"/>
                    <a:gd name="connsiteX23" fmla="*/ 555916 w 609050"/>
                    <a:gd name="connsiteY23" fmla="*/ 303071 h 586540"/>
                    <a:gd name="connsiteX24" fmla="*/ 216243 w 609050"/>
                    <a:gd name="connsiteY24" fmla="*/ 266609 h 586540"/>
                    <a:gd name="connsiteX25" fmla="*/ 216243 w 609050"/>
                    <a:gd name="connsiteY25" fmla="*/ 310473 h 586540"/>
                    <a:gd name="connsiteX26" fmla="*/ 293953 w 609050"/>
                    <a:gd name="connsiteY26" fmla="*/ 310473 h 586540"/>
                    <a:gd name="connsiteX27" fmla="*/ 293953 w 609050"/>
                    <a:gd name="connsiteY27" fmla="*/ 266609 h 586540"/>
                    <a:gd name="connsiteX28" fmla="*/ 69884 w 609050"/>
                    <a:gd name="connsiteY28" fmla="*/ 266609 h 586540"/>
                    <a:gd name="connsiteX29" fmla="*/ 69884 w 609050"/>
                    <a:gd name="connsiteY29" fmla="*/ 310473 h 586540"/>
                    <a:gd name="connsiteX30" fmla="*/ 147595 w 609050"/>
                    <a:gd name="connsiteY30" fmla="*/ 310473 h 586540"/>
                    <a:gd name="connsiteX31" fmla="*/ 147595 w 609050"/>
                    <a:gd name="connsiteY31" fmla="*/ 266609 h 586540"/>
                    <a:gd name="connsiteX32" fmla="*/ 460769 w 609050"/>
                    <a:gd name="connsiteY32" fmla="*/ 230010 h 586540"/>
                    <a:gd name="connsiteX33" fmla="*/ 460769 w 609050"/>
                    <a:gd name="connsiteY33" fmla="*/ 268528 h 586540"/>
                    <a:gd name="connsiteX34" fmla="*/ 555916 w 609050"/>
                    <a:gd name="connsiteY34" fmla="*/ 268528 h 586540"/>
                    <a:gd name="connsiteX35" fmla="*/ 555916 w 609050"/>
                    <a:gd name="connsiteY35" fmla="*/ 230010 h 586540"/>
                    <a:gd name="connsiteX36" fmla="*/ 216243 w 609050"/>
                    <a:gd name="connsiteY36" fmla="*/ 193549 h 586540"/>
                    <a:gd name="connsiteX37" fmla="*/ 216243 w 609050"/>
                    <a:gd name="connsiteY37" fmla="*/ 237412 h 586540"/>
                    <a:gd name="connsiteX38" fmla="*/ 293953 w 609050"/>
                    <a:gd name="connsiteY38" fmla="*/ 237412 h 586540"/>
                    <a:gd name="connsiteX39" fmla="*/ 293953 w 609050"/>
                    <a:gd name="connsiteY39" fmla="*/ 193549 h 586540"/>
                    <a:gd name="connsiteX40" fmla="*/ 69884 w 609050"/>
                    <a:gd name="connsiteY40" fmla="*/ 193549 h 586540"/>
                    <a:gd name="connsiteX41" fmla="*/ 69884 w 609050"/>
                    <a:gd name="connsiteY41" fmla="*/ 237412 h 586540"/>
                    <a:gd name="connsiteX42" fmla="*/ 147595 w 609050"/>
                    <a:gd name="connsiteY42" fmla="*/ 237412 h 586540"/>
                    <a:gd name="connsiteX43" fmla="*/ 147595 w 609050"/>
                    <a:gd name="connsiteY43" fmla="*/ 193549 h 586540"/>
                    <a:gd name="connsiteX44" fmla="*/ 460769 w 609050"/>
                    <a:gd name="connsiteY44" fmla="*/ 156950 h 586540"/>
                    <a:gd name="connsiteX45" fmla="*/ 460769 w 609050"/>
                    <a:gd name="connsiteY45" fmla="*/ 195468 h 586540"/>
                    <a:gd name="connsiteX46" fmla="*/ 555916 w 609050"/>
                    <a:gd name="connsiteY46" fmla="*/ 195468 h 586540"/>
                    <a:gd name="connsiteX47" fmla="*/ 555916 w 609050"/>
                    <a:gd name="connsiteY47" fmla="*/ 156950 h 586540"/>
                    <a:gd name="connsiteX48" fmla="*/ 192926 w 609050"/>
                    <a:gd name="connsiteY48" fmla="*/ 96251 h 586540"/>
                    <a:gd name="connsiteX49" fmla="*/ 361366 w 609050"/>
                    <a:gd name="connsiteY49" fmla="*/ 96251 h 586540"/>
                    <a:gd name="connsiteX50" fmla="*/ 361366 w 609050"/>
                    <a:gd name="connsiteY50" fmla="*/ 114880 h 586540"/>
                    <a:gd name="connsiteX51" fmla="*/ 192926 w 609050"/>
                    <a:gd name="connsiteY51" fmla="*/ 114880 h 586540"/>
                    <a:gd name="connsiteX52" fmla="*/ 192926 w 609050"/>
                    <a:gd name="connsiteY52" fmla="*/ 49819 h 586540"/>
                    <a:gd name="connsiteX53" fmla="*/ 361366 w 609050"/>
                    <a:gd name="connsiteY53" fmla="*/ 49819 h 586540"/>
                    <a:gd name="connsiteX54" fmla="*/ 361366 w 609050"/>
                    <a:gd name="connsiteY54" fmla="*/ 68307 h 586540"/>
                    <a:gd name="connsiteX55" fmla="*/ 192926 w 609050"/>
                    <a:gd name="connsiteY55" fmla="*/ 68307 h 586540"/>
                    <a:gd name="connsiteX56" fmla="*/ 166130 w 609050"/>
                    <a:gd name="connsiteY56" fmla="*/ 25222 h 586540"/>
                    <a:gd name="connsiteX57" fmla="*/ 166130 w 609050"/>
                    <a:gd name="connsiteY57" fmla="*/ 155716 h 586540"/>
                    <a:gd name="connsiteX58" fmla="*/ 338987 w 609050"/>
                    <a:gd name="connsiteY58" fmla="*/ 155716 h 586540"/>
                    <a:gd name="connsiteX59" fmla="*/ 338987 w 609050"/>
                    <a:gd name="connsiteY59" fmla="*/ 341040 h 586540"/>
                    <a:gd name="connsiteX60" fmla="*/ 338987 w 609050"/>
                    <a:gd name="connsiteY60" fmla="*/ 531710 h 586540"/>
                    <a:gd name="connsiteX61" fmla="*/ 366721 w 609050"/>
                    <a:gd name="connsiteY61" fmla="*/ 531710 h 586540"/>
                    <a:gd name="connsiteX62" fmla="*/ 366721 w 609050"/>
                    <a:gd name="connsiteY62" fmla="*/ 341040 h 586540"/>
                    <a:gd name="connsiteX63" fmla="*/ 366721 w 609050"/>
                    <a:gd name="connsiteY63" fmla="*/ 155305 h 586540"/>
                    <a:gd name="connsiteX64" fmla="*/ 388002 w 609050"/>
                    <a:gd name="connsiteY64" fmla="*/ 143517 h 586540"/>
                    <a:gd name="connsiteX65" fmla="*/ 388002 w 609050"/>
                    <a:gd name="connsiteY65" fmla="*/ 25222 h 586540"/>
                    <a:gd name="connsiteX66" fmla="*/ 140867 w 609050"/>
                    <a:gd name="connsiteY66" fmla="*/ 0 h 586540"/>
                    <a:gd name="connsiteX67" fmla="*/ 413402 w 609050"/>
                    <a:gd name="connsiteY67" fmla="*/ 0 h 586540"/>
                    <a:gd name="connsiteX68" fmla="*/ 413402 w 609050"/>
                    <a:gd name="connsiteY68" fmla="*/ 129398 h 586540"/>
                    <a:gd name="connsiteX69" fmla="*/ 432486 w 609050"/>
                    <a:gd name="connsiteY69" fmla="*/ 118843 h 586540"/>
                    <a:gd name="connsiteX70" fmla="*/ 584199 w 609050"/>
                    <a:gd name="connsiteY70" fmla="*/ 118843 h 586540"/>
                    <a:gd name="connsiteX71" fmla="*/ 584199 w 609050"/>
                    <a:gd name="connsiteY71" fmla="*/ 531710 h 586540"/>
                    <a:gd name="connsiteX72" fmla="*/ 609050 w 609050"/>
                    <a:gd name="connsiteY72" fmla="*/ 531710 h 586540"/>
                    <a:gd name="connsiteX73" fmla="*/ 609050 w 609050"/>
                    <a:gd name="connsiteY73" fmla="*/ 586540 h 586540"/>
                    <a:gd name="connsiteX74" fmla="*/ 0 w 609050"/>
                    <a:gd name="connsiteY74" fmla="*/ 586540 h 586540"/>
                    <a:gd name="connsiteX75" fmla="*/ 0 w 609050"/>
                    <a:gd name="connsiteY75" fmla="*/ 531710 h 586540"/>
                    <a:gd name="connsiteX76" fmla="*/ 24851 w 609050"/>
                    <a:gd name="connsiteY76" fmla="*/ 531710 h 586540"/>
                    <a:gd name="connsiteX77" fmla="*/ 24851 w 609050"/>
                    <a:gd name="connsiteY77" fmla="*/ 155716 h 586540"/>
                    <a:gd name="connsiteX78" fmla="*/ 140867 w 609050"/>
                    <a:gd name="connsiteY78" fmla="*/ 155716 h 5865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</a:cxnLst>
                  <a:rect l="l" t="t" r="r" b="b"/>
                  <a:pathLst>
                    <a:path w="609050" h="586540">
                      <a:moveTo>
                        <a:pt x="216243" y="412730"/>
                      </a:moveTo>
                      <a:lnTo>
                        <a:pt x="216243" y="456594"/>
                      </a:lnTo>
                      <a:lnTo>
                        <a:pt x="293953" y="456594"/>
                      </a:lnTo>
                      <a:lnTo>
                        <a:pt x="293953" y="412730"/>
                      </a:lnTo>
                      <a:close/>
                      <a:moveTo>
                        <a:pt x="69884" y="412730"/>
                      </a:moveTo>
                      <a:lnTo>
                        <a:pt x="69884" y="456594"/>
                      </a:lnTo>
                      <a:lnTo>
                        <a:pt x="147595" y="456594"/>
                      </a:lnTo>
                      <a:lnTo>
                        <a:pt x="147595" y="412730"/>
                      </a:lnTo>
                      <a:close/>
                      <a:moveTo>
                        <a:pt x="460769" y="376268"/>
                      </a:moveTo>
                      <a:lnTo>
                        <a:pt x="460769" y="414786"/>
                      </a:lnTo>
                      <a:lnTo>
                        <a:pt x="555916" y="414786"/>
                      </a:lnTo>
                      <a:lnTo>
                        <a:pt x="555916" y="376268"/>
                      </a:lnTo>
                      <a:close/>
                      <a:moveTo>
                        <a:pt x="216243" y="339670"/>
                      </a:moveTo>
                      <a:lnTo>
                        <a:pt x="216243" y="383533"/>
                      </a:lnTo>
                      <a:lnTo>
                        <a:pt x="293953" y="383533"/>
                      </a:lnTo>
                      <a:lnTo>
                        <a:pt x="293953" y="339670"/>
                      </a:lnTo>
                      <a:close/>
                      <a:moveTo>
                        <a:pt x="69884" y="339670"/>
                      </a:moveTo>
                      <a:lnTo>
                        <a:pt x="69884" y="383533"/>
                      </a:lnTo>
                      <a:lnTo>
                        <a:pt x="147595" y="383533"/>
                      </a:lnTo>
                      <a:lnTo>
                        <a:pt x="147595" y="339670"/>
                      </a:lnTo>
                      <a:close/>
                      <a:moveTo>
                        <a:pt x="460769" y="303071"/>
                      </a:moveTo>
                      <a:lnTo>
                        <a:pt x="460769" y="341726"/>
                      </a:lnTo>
                      <a:lnTo>
                        <a:pt x="555916" y="341726"/>
                      </a:lnTo>
                      <a:lnTo>
                        <a:pt x="555916" y="303071"/>
                      </a:lnTo>
                      <a:close/>
                      <a:moveTo>
                        <a:pt x="216243" y="266609"/>
                      </a:moveTo>
                      <a:lnTo>
                        <a:pt x="216243" y="310473"/>
                      </a:lnTo>
                      <a:lnTo>
                        <a:pt x="293953" y="310473"/>
                      </a:lnTo>
                      <a:lnTo>
                        <a:pt x="293953" y="266609"/>
                      </a:lnTo>
                      <a:close/>
                      <a:moveTo>
                        <a:pt x="69884" y="266609"/>
                      </a:moveTo>
                      <a:lnTo>
                        <a:pt x="69884" y="310473"/>
                      </a:lnTo>
                      <a:lnTo>
                        <a:pt x="147595" y="310473"/>
                      </a:lnTo>
                      <a:lnTo>
                        <a:pt x="147595" y="266609"/>
                      </a:lnTo>
                      <a:close/>
                      <a:moveTo>
                        <a:pt x="460769" y="230010"/>
                      </a:moveTo>
                      <a:lnTo>
                        <a:pt x="460769" y="268528"/>
                      </a:lnTo>
                      <a:lnTo>
                        <a:pt x="555916" y="268528"/>
                      </a:lnTo>
                      <a:lnTo>
                        <a:pt x="555916" y="230010"/>
                      </a:lnTo>
                      <a:close/>
                      <a:moveTo>
                        <a:pt x="216243" y="193549"/>
                      </a:moveTo>
                      <a:lnTo>
                        <a:pt x="216243" y="237412"/>
                      </a:lnTo>
                      <a:lnTo>
                        <a:pt x="293953" y="237412"/>
                      </a:lnTo>
                      <a:lnTo>
                        <a:pt x="293953" y="193549"/>
                      </a:lnTo>
                      <a:close/>
                      <a:moveTo>
                        <a:pt x="69884" y="193549"/>
                      </a:moveTo>
                      <a:lnTo>
                        <a:pt x="69884" y="237412"/>
                      </a:lnTo>
                      <a:lnTo>
                        <a:pt x="147595" y="237412"/>
                      </a:lnTo>
                      <a:lnTo>
                        <a:pt x="147595" y="193549"/>
                      </a:lnTo>
                      <a:close/>
                      <a:moveTo>
                        <a:pt x="460769" y="156950"/>
                      </a:moveTo>
                      <a:lnTo>
                        <a:pt x="460769" y="195468"/>
                      </a:lnTo>
                      <a:lnTo>
                        <a:pt x="555916" y="195468"/>
                      </a:lnTo>
                      <a:lnTo>
                        <a:pt x="555916" y="156950"/>
                      </a:lnTo>
                      <a:close/>
                      <a:moveTo>
                        <a:pt x="192926" y="96251"/>
                      </a:moveTo>
                      <a:lnTo>
                        <a:pt x="361366" y="96251"/>
                      </a:lnTo>
                      <a:lnTo>
                        <a:pt x="361366" y="114880"/>
                      </a:lnTo>
                      <a:lnTo>
                        <a:pt x="192926" y="114880"/>
                      </a:lnTo>
                      <a:close/>
                      <a:moveTo>
                        <a:pt x="192926" y="49819"/>
                      </a:moveTo>
                      <a:lnTo>
                        <a:pt x="361366" y="49819"/>
                      </a:lnTo>
                      <a:lnTo>
                        <a:pt x="361366" y="68307"/>
                      </a:lnTo>
                      <a:lnTo>
                        <a:pt x="192926" y="68307"/>
                      </a:lnTo>
                      <a:close/>
                      <a:moveTo>
                        <a:pt x="166130" y="25222"/>
                      </a:moveTo>
                      <a:lnTo>
                        <a:pt x="166130" y="155716"/>
                      </a:lnTo>
                      <a:lnTo>
                        <a:pt x="338987" y="155716"/>
                      </a:lnTo>
                      <a:lnTo>
                        <a:pt x="338987" y="341040"/>
                      </a:lnTo>
                      <a:lnTo>
                        <a:pt x="338987" y="531710"/>
                      </a:lnTo>
                      <a:lnTo>
                        <a:pt x="366721" y="531710"/>
                      </a:lnTo>
                      <a:lnTo>
                        <a:pt x="366721" y="341040"/>
                      </a:lnTo>
                      <a:lnTo>
                        <a:pt x="366721" y="155305"/>
                      </a:lnTo>
                      <a:lnTo>
                        <a:pt x="388002" y="143517"/>
                      </a:lnTo>
                      <a:lnTo>
                        <a:pt x="388002" y="25222"/>
                      </a:lnTo>
                      <a:close/>
                      <a:moveTo>
                        <a:pt x="140867" y="0"/>
                      </a:moveTo>
                      <a:lnTo>
                        <a:pt x="413402" y="0"/>
                      </a:lnTo>
                      <a:lnTo>
                        <a:pt x="413402" y="129398"/>
                      </a:lnTo>
                      <a:lnTo>
                        <a:pt x="432486" y="118843"/>
                      </a:lnTo>
                      <a:lnTo>
                        <a:pt x="584199" y="118843"/>
                      </a:lnTo>
                      <a:lnTo>
                        <a:pt x="584199" y="531710"/>
                      </a:lnTo>
                      <a:lnTo>
                        <a:pt x="609050" y="531710"/>
                      </a:lnTo>
                      <a:lnTo>
                        <a:pt x="609050" y="586540"/>
                      </a:lnTo>
                      <a:lnTo>
                        <a:pt x="0" y="586540"/>
                      </a:lnTo>
                      <a:lnTo>
                        <a:pt x="0" y="531710"/>
                      </a:lnTo>
                      <a:lnTo>
                        <a:pt x="24851" y="531710"/>
                      </a:lnTo>
                      <a:lnTo>
                        <a:pt x="24851" y="155716"/>
                      </a:lnTo>
                      <a:lnTo>
                        <a:pt x="140867" y="155716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 defTabSz="227965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0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</a:endParaRPr>
                </a:p>
              </p:txBody>
            </p:sp>
          </p:grpSp>
          <p:sp>
            <p:nvSpPr>
              <p:cNvPr id="28" name="椭圆 27">
                <a:extLst>
                  <a:ext uri="{FF2B5EF4-FFF2-40B4-BE49-F238E27FC236}">
                    <a16:creationId xmlns:a16="http://schemas.microsoft.com/office/drawing/2014/main" id="{9B3A7DF2-70AA-406A-AFE3-52095445D264}"/>
                  </a:ext>
                </a:extLst>
              </p:cNvPr>
              <p:cNvSpPr/>
              <p:nvPr/>
            </p:nvSpPr>
            <p:spPr>
              <a:xfrm>
                <a:off x="2769842" y="4382758"/>
                <a:ext cx="100772" cy="100772"/>
              </a:xfrm>
              <a:prstGeom prst="ellipse">
                <a:avLst/>
              </a:prstGeom>
              <a:solidFill>
                <a:schemeClr val="tx2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12" name="矩形: 剪去左右顶角 11">
              <a:extLst>
                <a:ext uri="{FF2B5EF4-FFF2-40B4-BE49-F238E27FC236}">
                  <a16:creationId xmlns:a16="http://schemas.microsoft.com/office/drawing/2014/main" id="{82925C05-F0DE-404C-BD33-84BBCD8A6AA6}"/>
                </a:ext>
              </a:extLst>
            </p:cNvPr>
            <p:cNvSpPr/>
            <p:nvPr/>
          </p:nvSpPr>
          <p:spPr>
            <a:xfrm>
              <a:off x="8613109" y="5164808"/>
              <a:ext cx="2905791" cy="969292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dirty="0"/>
                <a:t>Supporting text here. 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200" dirty="0"/>
                <a:t>When you copy &amp; paste, choose "keep text only" option.</a:t>
              </a: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41DCFD6B-C7FD-4BC8-8B69-AFB8D946AA63}"/>
                </a:ext>
              </a:extLst>
            </p:cNvPr>
            <p:cNvSpPr txBox="1"/>
            <p:nvPr/>
          </p:nvSpPr>
          <p:spPr bwMode="auto">
            <a:xfrm>
              <a:off x="8613109" y="4632580"/>
              <a:ext cx="2905791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 algn="ctr"/>
              <a:r>
                <a:rPr lang="en-US" altLang="zh-CN" b="1" dirty="0"/>
                <a:t>…</a:t>
              </a:r>
              <a:r>
                <a:rPr lang="zh-CN" altLang="en-US" b="1" dirty="0"/>
                <a:t>计划</a:t>
              </a:r>
            </a:p>
          </p:txBody>
        </p: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B87BA8FF-4EC6-44A8-9D39-51A67CAA6946}"/>
                </a:ext>
              </a:extLst>
            </p:cNvPr>
            <p:cNvGrpSpPr/>
            <p:nvPr/>
          </p:nvGrpSpPr>
          <p:grpSpPr>
            <a:xfrm>
              <a:off x="9545892" y="3144176"/>
              <a:ext cx="1040224" cy="1339354"/>
              <a:chOff x="2300116" y="3144176"/>
              <a:chExt cx="1040224" cy="1339354"/>
            </a:xfrm>
          </p:grpSpPr>
          <p:grpSp>
            <p:nvGrpSpPr>
              <p:cNvPr id="22" name="组合 21">
                <a:extLst>
                  <a:ext uri="{FF2B5EF4-FFF2-40B4-BE49-F238E27FC236}">
                    <a16:creationId xmlns:a16="http://schemas.microsoft.com/office/drawing/2014/main" id="{03EA88B1-8E73-4310-811F-9D15FB7B78E3}"/>
                  </a:ext>
                </a:extLst>
              </p:cNvPr>
              <p:cNvGrpSpPr/>
              <p:nvPr/>
            </p:nvGrpSpPr>
            <p:grpSpPr>
              <a:xfrm>
                <a:off x="2300116" y="3144176"/>
                <a:ext cx="1040224" cy="1208195"/>
                <a:chOff x="2300116" y="2887001"/>
                <a:chExt cx="1040224" cy="1208195"/>
              </a:xfrm>
            </p:grpSpPr>
            <p:sp>
              <p:nvSpPr>
                <p:cNvPr id="24" name="等腰三角形 23">
                  <a:extLst>
                    <a:ext uri="{FF2B5EF4-FFF2-40B4-BE49-F238E27FC236}">
                      <a16:creationId xmlns:a16="http://schemas.microsoft.com/office/drawing/2014/main" id="{675C8388-2F66-4966-AD3F-496AA0F2D56A}"/>
                    </a:ext>
                  </a:extLst>
                </p:cNvPr>
                <p:cNvSpPr/>
                <p:nvPr/>
              </p:nvSpPr>
              <p:spPr>
                <a:xfrm flipV="1">
                  <a:off x="2313056" y="3568699"/>
                  <a:ext cx="1014344" cy="526497"/>
                </a:xfrm>
                <a:prstGeom prst="triangl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 fontScale="77500" lnSpcReduction="20000"/>
                </a:bodyPr>
                <a:lstStyle/>
                <a:p>
                  <a:pPr algn="ctr"/>
                  <a:endParaRPr lang="zh-CN" altLang="en-US"/>
                </a:p>
              </p:txBody>
            </p:sp>
            <p:sp>
              <p:nvSpPr>
                <p:cNvPr id="25" name="椭圆 24">
                  <a:extLst>
                    <a:ext uri="{FF2B5EF4-FFF2-40B4-BE49-F238E27FC236}">
                      <a16:creationId xmlns:a16="http://schemas.microsoft.com/office/drawing/2014/main" id="{E93E2E3A-E9E5-43BB-8D8C-17DBA6F4C29C}"/>
                    </a:ext>
                  </a:extLst>
                </p:cNvPr>
                <p:cNvSpPr/>
                <p:nvPr/>
              </p:nvSpPr>
              <p:spPr>
                <a:xfrm>
                  <a:off x="2300116" y="2887001"/>
                  <a:ext cx="1040224" cy="1040224"/>
                </a:xfrm>
                <a:prstGeom prst="ellipse">
                  <a:avLst/>
                </a:prstGeom>
                <a:solidFill>
                  <a:schemeClr val="bg1"/>
                </a:solidFill>
                <a:ln w="38100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/>
                </a:bodyPr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26" name="任意多边形: 形状 25">
                  <a:extLst>
                    <a:ext uri="{FF2B5EF4-FFF2-40B4-BE49-F238E27FC236}">
                      <a16:creationId xmlns:a16="http://schemas.microsoft.com/office/drawing/2014/main" id="{C349B496-4788-4A31-B9AB-A17923AB1636}"/>
                    </a:ext>
                  </a:extLst>
                </p:cNvPr>
                <p:cNvSpPr/>
                <p:nvPr/>
              </p:nvSpPr>
              <p:spPr bwMode="auto">
                <a:xfrm>
                  <a:off x="2587803" y="3183279"/>
                  <a:ext cx="464850" cy="447669"/>
                </a:xfrm>
                <a:custGeom>
                  <a:avLst/>
                  <a:gdLst>
                    <a:gd name="connsiteX0" fmla="*/ 216243 w 609050"/>
                    <a:gd name="connsiteY0" fmla="*/ 412730 h 586540"/>
                    <a:gd name="connsiteX1" fmla="*/ 216243 w 609050"/>
                    <a:gd name="connsiteY1" fmla="*/ 456594 h 586540"/>
                    <a:gd name="connsiteX2" fmla="*/ 293953 w 609050"/>
                    <a:gd name="connsiteY2" fmla="*/ 456594 h 586540"/>
                    <a:gd name="connsiteX3" fmla="*/ 293953 w 609050"/>
                    <a:gd name="connsiteY3" fmla="*/ 412730 h 586540"/>
                    <a:gd name="connsiteX4" fmla="*/ 69884 w 609050"/>
                    <a:gd name="connsiteY4" fmla="*/ 412730 h 586540"/>
                    <a:gd name="connsiteX5" fmla="*/ 69884 w 609050"/>
                    <a:gd name="connsiteY5" fmla="*/ 456594 h 586540"/>
                    <a:gd name="connsiteX6" fmla="*/ 147595 w 609050"/>
                    <a:gd name="connsiteY6" fmla="*/ 456594 h 586540"/>
                    <a:gd name="connsiteX7" fmla="*/ 147595 w 609050"/>
                    <a:gd name="connsiteY7" fmla="*/ 412730 h 586540"/>
                    <a:gd name="connsiteX8" fmla="*/ 460769 w 609050"/>
                    <a:gd name="connsiteY8" fmla="*/ 376268 h 586540"/>
                    <a:gd name="connsiteX9" fmla="*/ 460769 w 609050"/>
                    <a:gd name="connsiteY9" fmla="*/ 414786 h 586540"/>
                    <a:gd name="connsiteX10" fmla="*/ 555916 w 609050"/>
                    <a:gd name="connsiteY10" fmla="*/ 414786 h 586540"/>
                    <a:gd name="connsiteX11" fmla="*/ 555916 w 609050"/>
                    <a:gd name="connsiteY11" fmla="*/ 376268 h 586540"/>
                    <a:gd name="connsiteX12" fmla="*/ 216243 w 609050"/>
                    <a:gd name="connsiteY12" fmla="*/ 339670 h 586540"/>
                    <a:gd name="connsiteX13" fmla="*/ 216243 w 609050"/>
                    <a:gd name="connsiteY13" fmla="*/ 383533 h 586540"/>
                    <a:gd name="connsiteX14" fmla="*/ 293953 w 609050"/>
                    <a:gd name="connsiteY14" fmla="*/ 383533 h 586540"/>
                    <a:gd name="connsiteX15" fmla="*/ 293953 w 609050"/>
                    <a:gd name="connsiteY15" fmla="*/ 339670 h 586540"/>
                    <a:gd name="connsiteX16" fmla="*/ 69884 w 609050"/>
                    <a:gd name="connsiteY16" fmla="*/ 339670 h 586540"/>
                    <a:gd name="connsiteX17" fmla="*/ 69884 w 609050"/>
                    <a:gd name="connsiteY17" fmla="*/ 383533 h 586540"/>
                    <a:gd name="connsiteX18" fmla="*/ 147595 w 609050"/>
                    <a:gd name="connsiteY18" fmla="*/ 383533 h 586540"/>
                    <a:gd name="connsiteX19" fmla="*/ 147595 w 609050"/>
                    <a:gd name="connsiteY19" fmla="*/ 339670 h 586540"/>
                    <a:gd name="connsiteX20" fmla="*/ 460769 w 609050"/>
                    <a:gd name="connsiteY20" fmla="*/ 303071 h 586540"/>
                    <a:gd name="connsiteX21" fmla="*/ 460769 w 609050"/>
                    <a:gd name="connsiteY21" fmla="*/ 341726 h 586540"/>
                    <a:gd name="connsiteX22" fmla="*/ 555916 w 609050"/>
                    <a:gd name="connsiteY22" fmla="*/ 341726 h 586540"/>
                    <a:gd name="connsiteX23" fmla="*/ 555916 w 609050"/>
                    <a:gd name="connsiteY23" fmla="*/ 303071 h 586540"/>
                    <a:gd name="connsiteX24" fmla="*/ 216243 w 609050"/>
                    <a:gd name="connsiteY24" fmla="*/ 266609 h 586540"/>
                    <a:gd name="connsiteX25" fmla="*/ 216243 w 609050"/>
                    <a:gd name="connsiteY25" fmla="*/ 310473 h 586540"/>
                    <a:gd name="connsiteX26" fmla="*/ 293953 w 609050"/>
                    <a:gd name="connsiteY26" fmla="*/ 310473 h 586540"/>
                    <a:gd name="connsiteX27" fmla="*/ 293953 w 609050"/>
                    <a:gd name="connsiteY27" fmla="*/ 266609 h 586540"/>
                    <a:gd name="connsiteX28" fmla="*/ 69884 w 609050"/>
                    <a:gd name="connsiteY28" fmla="*/ 266609 h 586540"/>
                    <a:gd name="connsiteX29" fmla="*/ 69884 w 609050"/>
                    <a:gd name="connsiteY29" fmla="*/ 310473 h 586540"/>
                    <a:gd name="connsiteX30" fmla="*/ 147595 w 609050"/>
                    <a:gd name="connsiteY30" fmla="*/ 310473 h 586540"/>
                    <a:gd name="connsiteX31" fmla="*/ 147595 w 609050"/>
                    <a:gd name="connsiteY31" fmla="*/ 266609 h 586540"/>
                    <a:gd name="connsiteX32" fmla="*/ 460769 w 609050"/>
                    <a:gd name="connsiteY32" fmla="*/ 230010 h 586540"/>
                    <a:gd name="connsiteX33" fmla="*/ 460769 w 609050"/>
                    <a:gd name="connsiteY33" fmla="*/ 268528 h 586540"/>
                    <a:gd name="connsiteX34" fmla="*/ 555916 w 609050"/>
                    <a:gd name="connsiteY34" fmla="*/ 268528 h 586540"/>
                    <a:gd name="connsiteX35" fmla="*/ 555916 w 609050"/>
                    <a:gd name="connsiteY35" fmla="*/ 230010 h 586540"/>
                    <a:gd name="connsiteX36" fmla="*/ 216243 w 609050"/>
                    <a:gd name="connsiteY36" fmla="*/ 193549 h 586540"/>
                    <a:gd name="connsiteX37" fmla="*/ 216243 w 609050"/>
                    <a:gd name="connsiteY37" fmla="*/ 237412 h 586540"/>
                    <a:gd name="connsiteX38" fmla="*/ 293953 w 609050"/>
                    <a:gd name="connsiteY38" fmla="*/ 237412 h 586540"/>
                    <a:gd name="connsiteX39" fmla="*/ 293953 w 609050"/>
                    <a:gd name="connsiteY39" fmla="*/ 193549 h 586540"/>
                    <a:gd name="connsiteX40" fmla="*/ 69884 w 609050"/>
                    <a:gd name="connsiteY40" fmla="*/ 193549 h 586540"/>
                    <a:gd name="connsiteX41" fmla="*/ 69884 w 609050"/>
                    <a:gd name="connsiteY41" fmla="*/ 237412 h 586540"/>
                    <a:gd name="connsiteX42" fmla="*/ 147595 w 609050"/>
                    <a:gd name="connsiteY42" fmla="*/ 237412 h 586540"/>
                    <a:gd name="connsiteX43" fmla="*/ 147595 w 609050"/>
                    <a:gd name="connsiteY43" fmla="*/ 193549 h 586540"/>
                    <a:gd name="connsiteX44" fmla="*/ 460769 w 609050"/>
                    <a:gd name="connsiteY44" fmla="*/ 156950 h 586540"/>
                    <a:gd name="connsiteX45" fmla="*/ 460769 w 609050"/>
                    <a:gd name="connsiteY45" fmla="*/ 195468 h 586540"/>
                    <a:gd name="connsiteX46" fmla="*/ 555916 w 609050"/>
                    <a:gd name="connsiteY46" fmla="*/ 195468 h 586540"/>
                    <a:gd name="connsiteX47" fmla="*/ 555916 w 609050"/>
                    <a:gd name="connsiteY47" fmla="*/ 156950 h 586540"/>
                    <a:gd name="connsiteX48" fmla="*/ 192926 w 609050"/>
                    <a:gd name="connsiteY48" fmla="*/ 96251 h 586540"/>
                    <a:gd name="connsiteX49" fmla="*/ 361366 w 609050"/>
                    <a:gd name="connsiteY49" fmla="*/ 96251 h 586540"/>
                    <a:gd name="connsiteX50" fmla="*/ 361366 w 609050"/>
                    <a:gd name="connsiteY50" fmla="*/ 114880 h 586540"/>
                    <a:gd name="connsiteX51" fmla="*/ 192926 w 609050"/>
                    <a:gd name="connsiteY51" fmla="*/ 114880 h 586540"/>
                    <a:gd name="connsiteX52" fmla="*/ 192926 w 609050"/>
                    <a:gd name="connsiteY52" fmla="*/ 49819 h 586540"/>
                    <a:gd name="connsiteX53" fmla="*/ 361366 w 609050"/>
                    <a:gd name="connsiteY53" fmla="*/ 49819 h 586540"/>
                    <a:gd name="connsiteX54" fmla="*/ 361366 w 609050"/>
                    <a:gd name="connsiteY54" fmla="*/ 68307 h 586540"/>
                    <a:gd name="connsiteX55" fmla="*/ 192926 w 609050"/>
                    <a:gd name="connsiteY55" fmla="*/ 68307 h 586540"/>
                    <a:gd name="connsiteX56" fmla="*/ 166130 w 609050"/>
                    <a:gd name="connsiteY56" fmla="*/ 25222 h 586540"/>
                    <a:gd name="connsiteX57" fmla="*/ 166130 w 609050"/>
                    <a:gd name="connsiteY57" fmla="*/ 155716 h 586540"/>
                    <a:gd name="connsiteX58" fmla="*/ 338987 w 609050"/>
                    <a:gd name="connsiteY58" fmla="*/ 155716 h 586540"/>
                    <a:gd name="connsiteX59" fmla="*/ 338987 w 609050"/>
                    <a:gd name="connsiteY59" fmla="*/ 341040 h 586540"/>
                    <a:gd name="connsiteX60" fmla="*/ 338987 w 609050"/>
                    <a:gd name="connsiteY60" fmla="*/ 531710 h 586540"/>
                    <a:gd name="connsiteX61" fmla="*/ 366721 w 609050"/>
                    <a:gd name="connsiteY61" fmla="*/ 531710 h 586540"/>
                    <a:gd name="connsiteX62" fmla="*/ 366721 w 609050"/>
                    <a:gd name="connsiteY62" fmla="*/ 341040 h 586540"/>
                    <a:gd name="connsiteX63" fmla="*/ 366721 w 609050"/>
                    <a:gd name="connsiteY63" fmla="*/ 155305 h 586540"/>
                    <a:gd name="connsiteX64" fmla="*/ 388002 w 609050"/>
                    <a:gd name="connsiteY64" fmla="*/ 143517 h 586540"/>
                    <a:gd name="connsiteX65" fmla="*/ 388002 w 609050"/>
                    <a:gd name="connsiteY65" fmla="*/ 25222 h 586540"/>
                    <a:gd name="connsiteX66" fmla="*/ 140867 w 609050"/>
                    <a:gd name="connsiteY66" fmla="*/ 0 h 586540"/>
                    <a:gd name="connsiteX67" fmla="*/ 413402 w 609050"/>
                    <a:gd name="connsiteY67" fmla="*/ 0 h 586540"/>
                    <a:gd name="connsiteX68" fmla="*/ 413402 w 609050"/>
                    <a:gd name="connsiteY68" fmla="*/ 129398 h 586540"/>
                    <a:gd name="connsiteX69" fmla="*/ 432486 w 609050"/>
                    <a:gd name="connsiteY69" fmla="*/ 118843 h 586540"/>
                    <a:gd name="connsiteX70" fmla="*/ 584199 w 609050"/>
                    <a:gd name="connsiteY70" fmla="*/ 118843 h 586540"/>
                    <a:gd name="connsiteX71" fmla="*/ 584199 w 609050"/>
                    <a:gd name="connsiteY71" fmla="*/ 531710 h 586540"/>
                    <a:gd name="connsiteX72" fmla="*/ 609050 w 609050"/>
                    <a:gd name="connsiteY72" fmla="*/ 531710 h 586540"/>
                    <a:gd name="connsiteX73" fmla="*/ 609050 w 609050"/>
                    <a:gd name="connsiteY73" fmla="*/ 586540 h 586540"/>
                    <a:gd name="connsiteX74" fmla="*/ 0 w 609050"/>
                    <a:gd name="connsiteY74" fmla="*/ 586540 h 586540"/>
                    <a:gd name="connsiteX75" fmla="*/ 0 w 609050"/>
                    <a:gd name="connsiteY75" fmla="*/ 531710 h 586540"/>
                    <a:gd name="connsiteX76" fmla="*/ 24851 w 609050"/>
                    <a:gd name="connsiteY76" fmla="*/ 531710 h 586540"/>
                    <a:gd name="connsiteX77" fmla="*/ 24851 w 609050"/>
                    <a:gd name="connsiteY77" fmla="*/ 155716 h 586540"/>
                    <a:gd name="connsiteX78" fmla="*/ 140867 w 609050"/>
                    <a:gd name="connsiteY78" fmla="*/ 155716 h 5865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</a:cxnLst>
                  <a:rect l="l" t="t" r="r" b="b"/>
                  <a:pathLst>
                    <a:path w="609050" h="586540">
                      <a:moveTo>
                        <a:pt x="216243" y="412730"/>
                      </a:moveTo>
                      <a:lnTo>
                        <a:pt x="216243" y="456594"/>
                      </a:lnTo>
                      <a:lnTo>
                        <a:pt x="293953" y="456594"/>
                      </a:lnTo>
                      <a:lnTo>
                        <a:pt x="293953" y="412730"/>
                      </a:lnTo>
                      <a:close/>
                      <a:moveTo>
                        <a:pt x="69884" y="412730"/>
                      </a:moveTo>
                      <a:lnTo>
                        <a:pt x="69884" y="456594"/>
                      </a:lnTo>
                      <a:lnTo>
                        <a:pt x="147595" y="456594"/>
                      </a:lnTo>
                      <a:lnTo>
                        <a:pt x="147595" y="412730"/>
                      </a:lnTo>
                      <a:close/>
                      <a:moveTo>
                        <a:pt x="460769" y="376268"/>
                      </a:moveTo>
                      <a:lnTo>
                        <a:pt x="460769" y="414786"/>
                      </a:lnTo>
                      <a:lnTo>
                        <a:pt x="555916" y="414786"/>
                      </a:lnTo>
                      <a:lnTo>
                        <a:pt x="555916" y="376268"/>
                      </a:lnTo>
                      <a:close/>
                      <a:moveTo>
                        <a:pt x="216243" y="339670"/>
                      </a:moveTo>
                      <a:lnTo>
                        <a:pt x="216243" y="383533"/>
                      </a:lnTo>
                      <a:lnTo>
                        <a:pt x="293953" y="383533"/>
                      </a:lnTo>
                      <a:lnTo>
                        <a:pt x="293953" y="339670"/>
                      </a:lnTo>
                      <a:close/>
                      <a:moveTo>
                        <a:pt x="69884" y="339670"/>
                      </a:moveTo>
                      <a:lnTo>
                        <a:pt x="69884" y="383533"/>
                      </a:lnTo>
                      <a:lnTo>
                        <a:pt x="147595" y="383533"/>
                      </a:lnTo>
                      <a:lnTo>
                        <a:pt x="147595" y="339670"/>
                      </a:lnTo>
                      <a:close/>
                      <a:moveTo>
                        <a:pt x="460769" y="303071"/>
                      </a:moveTo>
                      <a:lnTo>
                        <a:pt x="460769" y="341726"/>
                      </a:lnTo>
                      <a:lnTo>
                        <a:pt x="555916" y="341726"/>
                      </a:lnTo>
                      <a:lnTo>
                        <a:pt x="555916" y="303071"/>
                      </a:lnTo>
                      <a:close/>
                      <a:moveTo>
                        <a:pt x="216243" y="266609"/>
                      </a:moveTo>
                      <a:lnTo>
                        <a:pt x="216243" y="310473"/>
                      </a:lnTo>
                      <a:lnTo>
                        <a:pt x="293953" y="310473"/>
                      </a:lnTo>
                      <a:lnTo>
                        <a:pt x="293953" y="266609"/>
                      </a:lnTo>
                      <a:close/>
                      <a:moveTo>
                        <a:pt x="69884" y="266609"/>
                      </a:moveTo>
                      <a:lnTo>
                        <a:pt x="69884" y="310473"/>
                      </a:lnTo>
                      <a:lnTo>
                        <a:pt x="147595" y="310473"/>
                      </a:lnTo>
                      <a:lnTo>
                        <a:pt x="147595" y="266609"/>
                      </a:lnTo>
                      <a:close/>
                      <a:moveTo>
                        <a:pt x="460769" y="230010"/>
                      </a:moveTo>
                      <a:lnTo>
                        <a:pt x="460769" y="268528"/>
                      </a:lnTo>
                      <a:lnTo>
                        <a:pt x="555916" y="268528"/>
                      </a:lnTo>
                      <a:lnTo>
                        <a:pt x="555916" y="230010"/>
                      </a:lnTo>
                      <a:close/>
                      <a:moveTo>
                        <a:pt x="216243" y="193549"/>
                      </a:moveTo>
                      <a:lnTo>
                        <a:pt x="216243" y="237412"/>
                      </a:lnTo>
                      <a:lnTo>
                        <a:pt x="293953" y="237412"/>
                      </a:lnTo>
                      <a:lnTo>
                        <a:pt x="293953" y="193549"/>
                      </a:lnTo>
                      <a:close/>
                      <a:moveTo>
                        <a:pt x="69884" y="193549"/>
                      </a:moveTo>
                      <a:lnTo>
                        <a:pt x="69884" y="237412"/>
                      </a:lnTo>
                      <a:lnTo>
                        <a:pt x="147595" y="237412"/>
                      </a:lnTo>
                      <a:lnTo>
                        <a:pt x="147595" y="193549"/>
                      </a:lnTo>
                      <a:close/>
                      <a:moveTo>
                        <a:pt x="460769" y="156950"/>
                      </a:moveTo>
                      <a:lnTo>
                        <a:pt x="460769" y="195468"/>
                      </a:lnTo>
                      <a:lnTo>
                        <a:pt x="555916" y="195468"/>
                      </a:lnTo>
                      <a:lnTo>
                        <a:pt x="555916" y="156950"/>
                      </a:lnTo>
                      <a:close/>
                      <a:moveTo>
                        <a:pt x="192926" y="96251"/>
                      </a:moveTo>
                      <a:lnTo>
                        <a:pt x="361366" y="96251"/>
                      </a:lnTo>
                      <a:lnTo>
                        <a:pt x="361366" y="114880"/>
                      </a:lnTo>
                      <a:lnTo>
                        <a:pt x="192926" y="114880"/>
                      </a:lnTo>
                      <a:close/>
                      <a:moveTo>
                        <a:pt x="192926" y="49819"/>
                      </a:moveTo>
                      <a:lnTo>
                        <a:pt x="361366" y="49819"/>
                      </a:lnTo>
                      <a:lnTo>
                        <a:pt x="361366" y="68307"/>
                      </a:lnTo>
                      <a:lnTo>
                        <a:pt x="192926" y="68307"/>
                      </a:lnTo>
                      <a:close/>
                      <a:moveTo>
                        <a:pt x="166130" y="25222"/>
                      </a:moveTo>
                      <a:lnTo>
                        <a:pt x="166130" y="155716"/>
                      </a:lnTo>
                      <a:lnTo>
                        <a:pt x="338987" y="155716"/>
                      </a:lnTo>
                      <a:lnTo>
                        <a:pt x="338987" y="341040"/>
                      </a:lnTo>
                      <a:lnTo>
                        <a:pt x="338987" y="531710"/>
                      </a:lnTo>
                      <a:lnTo>
                        <a:pt x="366721" y="531710"/>
                      </a:lnTo>
                      <a:lnTo>
                        <a:pt x="366721" y="341040"/>
                      </a:lnTo>
                      <a:lnTo>
                        <a:pt x="366721" y="155305"/>
                      </a:lnTo>
                      <a:lnTo>
                        <a:pt x="388002" y="143517"/>
                      </a:lnTo>
                      <a:lnTo>
                        <a:pt x="388002" y="25222"/>
                      </a:lnTo>
                      <a:close/>
                      <a:moveTo>
                        <a:pt x="140867" y="0"/>
                      </a:moveTo>
                      <a:lnTo>
                        <a:pt x="413402" y="0"/>
                      </a:lnTo>
                      <a:lnTo>
                        <a:pt x="413402" y="129398"/>
                      </a:lnTo>
                      <a:lnTo>
                        <a:pt x="432486" y="118843"/>
                      </a:lnTo>
                      <a:lnTo>
                        <a:pt x="584199" y="118843"/>
                      </a:lnTo>
                      <a:lnTo>
                        <a:pt x="584199" y="531710"/>
                      </a:lnTo>
                      <a:lnTo>
                        <a:pt x="609050" y="531710"/>
                      </a:lnTo>
                      <a:lnTo>
                        <a:pt x="609050" y="586540"/>
                      </a:lnTo>
                      <a:lnTo>
                        <a:pt x="0" y="586540"/>
                      </a:lnTo>
                      <a:lnTo>
                        <a:pt x="0" y="531710"/>
                      </a:lnTo>
                      <a:lnTo>
                        <a:pt x="24851" y="531710"/>
                      </a:lnTo>
                      <a:lnTo>
                        <a:pt x="24851" y="155716"/>
                      </a:lnTo>
                      <a:lnTo>
                        <a:pt x="140867" y="155716"/>
                      </a:ln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>
                  <a:noFill/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 defTabSz="227965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50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</a:endParaRPr>
                </a:p>
              </p:txBody>
            </p:sp>
          </p:grpSp>
          <p:sp>
            <p:nvSpPr>
              <p:cNvPr id="23" name="椭圆 22">
                <a:extLst>
                  <a:ext uri="{FF2B5EF4-FFF2-40B4-BE49-F238E27FC236}">
                    <a16:creationId xmlns:a16="http://schemas.microsoft.com/office/drawing/2014/main" id="{CE82407B-6FEC-4452-82C5-85F53349862C}"/>
                  </a:ext>
                </a:extLst>
              </p:cNvPr>
              <p:cNvSpPr/>
              <p:nvPr/>
            </p:nvSpPr>
            <p:spPr>
              <a:xfrm>
                <a:off x="2769842" y="4382758"/>
                <a:ext cx="100772" cy="100772"/>
              </a:xfrm>
              <a:prstGeom prst="ellipse">
                <a:avLst/>
              </a:prstGeom>
              <a:solidFill>
                <a:schemeClr val="tx2"/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FFD2DE33-FC1A-4087-ACB5-ECFE1AD2F1A0}"/>
                </a:ext>
              </a:extLst>
            </p:cNvPr>
            <p:cNvGrpSpPr/>
            <p:nvPr/>
          </p:nvGrpSpPr>
          <p:grpSpPr>
            <a:xfrm>
              <a:off x="5434176" y="2776637"/>
              <a:ext cx="1323648" cy="1491618"/>
              <a:chOff x="5434176" y="2603577"/>
              <a:chExt cx="1323648" cy="1491618"/>
            </a:xfrm>
          </p:grpSpPr>
          <p:sp>
            <p:nvSpPr>
              <p:cNvPr id="19" name="等腰三角形 18">
                <a:extLst>
                  <a:ext uri="{FF2B5EF4-FFF2-40B4-BE49-F238E27FC236}">
                    <a16:creationId xmlns:a16="http://schemas.microsoft.com/office/drawing/2014/main" id="{58F06CD8-B863-4935-BE13-4C10865615EE}"/>
                  </a:ext>
                </a:extLst>
              </p:cNvPr>
              <p:cNvSpPr/>
              <p:nvPr/>
            </p:nvSpPr>
            <p:spPr>
              <a:xfrm flipV="1">
                <a:off x="5537200" y="3568698"/>
                <a:ext cx="1117600" cy="526497"/>
              </a:xfrm>
              <a:prstGeom prst="triangl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 fontScale="77500" lnSpcReduction="20000"/>
              </a:bodyPr>
              <a:lstStyle/>
              <a:p>
                <a:pPr algn="ctr"/>
                <a:endParaRPr lang="zh-CN" altLang="en-US"/>
              </a:p>
            </p:txBody>
          </p:sp>
          <p:sp>
            <p:nvSpPr>
              <p:cNvPr id="20" name="椭圆 19">
                <a:extLst>
                  <a:ext uri="{FF2B5EF4-FFF2-40B4-BE49-F238E27FC236}">
                    <a16:creationId xmlns:a16="http://schemas.microsoft.com/office/drawing/2014/main" id="{665D814E-D6DC-4AF3-8081-3F263B0FAE51}"/>
                  </a:ext>
                </a:extLst>
              </p:cNvPr>
              <p:cNvSpPr/>
              <p:nvPr/>
            </p:nvSpPr>
            <p:spPr>
              <a:xfrm>
                <a:off x="5434176" y="2603577"/>
                <a:ext cx="1323648" cy="1323648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/>
              <a:p>
                <a:pPr algn="ctr"/>
                <a:endParaRPr lang="en-GB"/>
              </a:p>
            </p:txBody>
          </p:sp>
          <p:sp>
            <p:nvSpPr>
              <p:cNvPr id="21" name="任意多边形: 形状 20" title="sAFpzVTs3Zf4bNOvhUGK2sBwbXFxCSO5NolOFQXalL0pr">
                <a:extLst>
                  <a:ext uri="{FF2B5EF4-FFF2-40B4-BE49-F238E27FC236}">
                    <a16:creationId xmlns:a16="http://schemas.microsoft.com/office/drawing/2014/main" id="{AAA7C7F3-21B2-4DB7-B311-59FDF7F9921D}"/>
                  </a:ext>
                </a:extLst>
              </p:cNvPr>
              <p:cNvSpPr/>
              <p:nvPr/>
            </p:nvSpPr>
            <p:spPr bwMode="auto">
              <a:xfrm>
                <a:off x="5765888" y="2907241"/>
                <a:ext cx="660225" cy="716321"/>
              </a:xfrm>
              <a:custGeom>
                <a:avLst/>
                <a:gdLst>
                  <a:gd name="connsiteX0" fmla="*/ 191479 w 561065"/>
                  <a:gd name="connsiteY0" fmla="*/ 375902 h 608735"/>
                  <a:gd name="connsiteX1" fmla="*/ 245437 w 561065"/>
                  <a:gd name="connsiteY1" fmla="*/ 535655 h 608735"/>
                  <a:gd name="connsiteX2" fmla="*/ 250809 w 561065"/>
                  <a:gd name="connsiteY2" fmla="*/ 420563 h 608735"/>
                  <a:gd name="connsiteX3" fmla="*/ 246371 w 561065"/>
                  <a:gd name="connsiteY3" fmla="*/ 411817 h 608735"/>
                  <a:gd name="connsiteX4" fmla="*/ 228911 w 561065"/>
                  <a:gd name="connsiteY4" fmla="*/ 377418 h 608735"/>
                  <a:gd name="connsiteX5" fmla="*/ 280299 w 561065"/>
                  <a:gd name="connsiteY5" fmla="*/ 393743 h 608735"/>
                  <a:gd name="connsiteX6" fmla="*/ 332563 w 561065"/>
                  <a:gd name="connsiteY6" fmla="*/ 376718 h 608735"/>
                  <a:gd name="connsiteX7" fmla="*/ 314811 w 561065"/>
                  <a:gd name="connsiteY7" fmla="*/ 411817 h 608735"/>
                  <a:gd name="connsiteX8" fmla="*/ 310373 w 561065"/>
                  <a:gd name="connsiteY8" fmla="*/ 420563 h 608735"/>
                  <a:gd name="connsiteX9" fmla="*/ 315745 w 561065"/>
                  <a:gd name="connsiteY9" fmla="*/ 535655 h 608735"/>
                  <a:gd name="connsiteX10" fmla="*/ 369644 w 561065"/>
                  <a:gd name="connsiteY10" fmla="*/ 375960 h 608735"/>
                  <a:gd name="connsiteX11" fmla="*/ 443223 w 561065"/>
                  <a:gd name="connsiteY11" fmla="*/ 403946 h 608735"/>
                  <a:gd name="connsiteX12" fmla="*/ 506290 w 561065"/>
                  <a:gd name="connsiteY12" fmla="*/ 430241 h 608735"/>
                  <a:gd name="connsiteX13" fmla="*/ 507925 w 561065"/>
                  <a:gd name="connsiteY13" fmla="*/ 430999 h 608735"/>
                  <a:gd name="connsiteX14" fmla="*/ 510728 w 561065"/>
                  <a:gd name="connsiteY14" fmla="*/ 432573 h 608735"/>
                  <a:gd name="connsiteX15" fmla="*/ 528831 w 561065"/>
                  <a:gd name="connsiteY15" fmla="*/ 452630 h 608735"/>
                  <a:gd name="connsiteX16" fmla="*/ 528831 w 561065"/>
                  <a:gd name="connsiteY16" fmla="*/ 452688 h 608735"/>
                  <a:gd name="connsiteX17" fmla="*/ 532042 w 561065"/>
                  <a:gd name="connsiteY17" fmla="*/ 462308 h 608735"/>
                  <a:gd name="connsiteX18" fmla="*/ 558671 w 561065"/>
                  <a:gd name="connsiteY18" fmla="*/ 548307 h 608735"/>
                  <a:gd name="connsiteX19" fmla="*/ 560539 w 561065"/>
                  <a:gd name="connsiteY19" fmla="*/ 555828 h 608735"/>
                  <a:gd name="connsiteX20" fmla="*/ 561065 w 561065"/>
                  <a:gd name="connsiteY20" fmla="*/ 562824 h 608735"/>
                  <a:gd name="connsiteX21" fmla="*/ 515166 w 561065"/>
                  <a:gd name="connsiteY21" fmla="*/ 608710 h 608735"/>
                  <a:gd name="connsiteX22" fmla="*/ 471311 w 561065"/>
                  <a:gd name="connsiteY22" fmla="*/ 608710 h 608735"/>
                  <a:gd name="connsiteX23" fmla="*/ 283044 w 561065"/>
                  <a:gd name="connsiteY23" fmla="*/ 608710 h 608735"/>
                  <a:gd name="connsiteX24" fmla="*/ 280532 w 561065"/>
                  <a:gd name="connsiteY24" fmla="*/ 608710 h 608735"/>
                  <a:gd name="connsiteX25" fmla="*/ 278080 w 561065"/>
                  <a:gd name="connsiteY25" fmla="*/ 608710 h 608735"/>
                  <a:gd name="connsiteX26" fmla="*/ 89812 w 561065"/>
                  <a:gd name="connsiteY26" fmla="*/ 608710 h 608735"/>
                  <a:gd name="connsiteX27" fmla="*/ 45957 w 561065"/>
                  <a:gd name="connsiteY27" fmla="*/ 608710 h 608735"/>
                  <a:gd name="connsiteX28" fmla="*/ 0 w 561065"/>
                  <a:gd name="connsiteY28" fmla="*/ 562824 h 608735"/>
                  <a:gd name="connsiteX29" fmla="*/ 584 w 561065"/>
                  <a:gd name="connsiteY29" fmla="*/ 555828 h 608735"/>
                  <a:gd name="connsiteX30" fmla="*/ 2453 w 561065"/>
                  <a:gd name="connsiteY30" fmla="*/ 548307 h 608735"/>
                  <a:gd name="connsiteX31" fmla="*/ 29081 w 561065"/>
                  <a:gd name="connsiteY31" fmla="*/ 462308 h 608735"/>
                  <a:gd name="connsiteX32" fmla="*/ 32234 w 561065"/>
                  <a:gd name="connsiteY32" fmla="*/ 452688 h 608735"/>
                  <a:gd name="connsiteX33" fmla="*/ 32234 w 561065"/>
                  <a:gd name="connsiteY33" fmla="*/ 452630 h 608735"/>
                  <a:gd name="connsiteX34" fmla="*/ 50395 w 561065"/>
                  <a:gd name="connsiteY34" fmla="*/ 432457 h 608735"/>
                  <a:gd name="connsiteX35" fmla="*/ 53198 w 561065"/>
                  <a:gd name="connsiteY35" fmla="*/ 430941 h 608735"/>
                  <a:gd name="connsiteX36" fmla="*/ 54833 w 561065"/>
                  <a:gd name="connsiteY36" fmla="*/ 430125 h 608735"/>
                  <a:gd name="connsiteX37" fmla="*/ 117901 w 561065"/>
                  <a:gd name="connsiteY37" fmla="*/ 403888 h 608735"/>
                  <a:gd name="connsiteX38" fmla="*/ 191479 w 561065"/>
                  <a:gd name="connsiteY38" fmla="*/ 375902 h 608735"/>
                  <a:gd name="connsiteX39" fmla="*/ 277747 w 561065"/>
                  <a:gd name="connsiteY39" fmla="*/ 0 h 608735"/>
                  <a:gd name="connsiteX40" fmla="*/ 277980 w 561065"/>
                  <a:gd name="connsiteY40" fmla="*/ 0 h 608735"/>
                  <a:gd name="connsiteX41" fmla="*/ 278214 w 561065"/>
                  <a:gd name="connsiteY41" fmla="*/ 0 h 608735"/>
                  <a:gd name="connsiteX42" fmla="*/ 280491 w 561065"/>
                  <a:gd name="connsiteY42" fmla="*/ 0 h 608735"/>
                  <a:gd name="connsiteX43" fmla="*/ 282768 w 561065"/>
                  <a:gd name="connsiteY43" fmla="*/ 0 h 608735"/>
                  <a:gd name="connsiteX44" fmla="*/ 283001 w 561065"/>
                  <a:gd name="connsiteY44" fmla="*/ 0 h 608735"/>
                  <a:gd name="connsiteX45" fmla="*/ 283235 w 561065"/>
                  <a:gd name="connsiteY45" fmla="*/ 0 h 608735"/>
                  <a:gd name="connsiteX46" fmla="*/ 401988 w 561065"/>
                  <a:gd name="connsiteY46" fmla="*/ 118656 h 608735"/>
                  <a:gd name="connsiteX47" fmla="*/ 400470 w 561065"/>
                  <a:gd name="connsiteY47" fmla="*/ 162854 h 608735"/>
                  <a:gd name="connsiteX48" fmla="*/ 427093 w 561065"/>
                  <a:gd name="connsiteY48" fmla="*/ 188509 h 608735"/>
                  <a:gd name="connsiteX49" fmla="*/ 394456 w 561065"/>
                  <a:gd name="connsiteY49" fmla="*/ 242969 h 608735"/>
                  <a:gd name="connsiteX50" fmla="*/ 342436 w 561065"/>
                  <a:gd name="connsiteY50" fmla="*/ 326465 h 608735"/>
                  <a:gd name="connsiteX51" fmla="*/ 283001 w 561065"/>
                  <a:gd name="connsiteY51" fmla="*/ 354745 h 608735"/>
                  <a:gd name="connsiteX52" fmla="*/ 280491 w 561065"/>
                  <a:gd name="connsiteY52" fmla="*/ 354803 h 608735"/>
                  <a:gd name="connsiteX53" fmla="*/ 277980 w 561065"/>
                  <a:gd name="connsiteY53" fmla="*/ 354745 h 608735"/>
                  <a:gd name="connsiteX54" fmla="*/ 218136 w 561065"/>
                  <a:gd name="connsiteY54" fmla="*/ 326116 h 608735"/>
                  <a:gd name="connsiteX55" fmla="*/ 166467 w 561065"/>
                  <a:gd name="connsiteY55" fmla="*/ 242969 h 608735"/>
                  <a:gd name="connsiteX56" fmla="*/ 133830 w 561065"/>
                  <a:gd name="connsiteY56" fmla="*/ 188509 h 608735"/>
                  <a:gd name="connsiteX57" fmla="*/ 160453 w 561065"/>
                  <a:gd name="connsiteY57" fmla="*/ 162970 h 608735"/>
                  <a:gd name="connsiteX58" fmla="*/ 158877 w 561065"/>
                  <a:gd name="connsiteY58" fmla="*/ 118715 h 608735"/>
                  <a:gd name="connsiteX59" fmla="*/ 277747 w 561065"/>
                  <a:gd name="connsiteY59" fmla="*/ 0 h 608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561065" h="608735">
                    <a:moveTo>
                      <a:pt x="191479" y="375902"/>
                    </a:moveTo>
                    <a:cubicBezTo>
                      <a:pt x="195917" y="394559"/>
                      <a:pt x="238604" y="518455"/>
                      <a:pt x="245437" y="535655"/>
                    </a:cubicBezTo>
                    <a:lnTo>
                      <a:pt x="250809" y="420563"/>
                    </a:lnTo>
                    <a:cubicBezTo>
                      <a:pt x="248999" y="417881"/>
                      <a:pt x="247773" y="414732"/>
                      <a:pt x="246371" y="411817"/>
                    </a:cubicBezTo>
                    <a:lnTo>
                      <a:pt x="228911" y="377418"/>
                    </a:lnTo>
                    <a:cubicBezTo>
                      <a:pt x="241466" y="387446"/>
                      <a:pt x="259860" y="393743"/>
                      <a:pt x="280299" y="393743"/>
                    </a:cubicBezTo>
                    <a:cubicBezTo>
                      <a:pt x="301263" y="393743"/>
                      <a:pt x="320008" y="387155"/>
                      <a:pt x="332563" y="376718"/>
                    </a:cubicBezTo>
                    <a:lnTo>
                      <a:pt x="314811" y="411817"/>
                    </a:lnTo>
                    <a:cubicBezTo>
                      <a:pt x="313409" y="414732"/>
                      <a:pt x="312183" y="417881"/>
                      <a:pt x="310373" y="420563"/>
                    </a:cubicBezTo>
                    <a:lnTo>
                      <a:pt x="315745" y="535655"/>
                    </a:lnTo>
                    <a:cubicBezTo>
                      <a:pt x="322519" y="518455"/>
                      <a:pt x="365089" y="394618"/>
                      <a:pt x="369644" y="375960"/>
                    </a:cubicBezTo>
                    <a:cubicBezTo>
                      <a:pt x="394754" y="384881"/>
                      <a:pt x="419397" y="393685"/>
                      <a:pt x="443223" y="403946"/>
                    </a:cubicBezTo>
                    <a:cubicBezTo>
                      <a:pt x="443223" y="403946"/>
                      <a:pt x="490757" y="422895"/>
                      <a:pt x="506290" y="430241"/>
                    </a:cubicBezTo>
                    <a:cubicBezTo>
                      <a:pt x="506815" y="430475"/>
                      <a:pt x="507341" y="430766"/>
                      <a:pt x="507925" y="430999"/>
                    </a:cubicBezTo>
                    <a:cubicBezTo>
                      <a:pt x="509210" y="431699"/>
                      <a:pt x="510261" y="432224"/>
                      <a:pt x="510728" y="432573"/>
                    </a:cubicBezTo>
                    <a:cubicBezTo>
                      <a:pt x="518553" y="437238"/>
                      <a:pt x="524976" y="444234"/>
                      <a:pt x="528831" y="452630"/>
                    </a:cubicBezTo>
                    <a:lnTo>
                      <a:pt x="528831" y="452688"/>
                    </a:lnTo>
                    <a:cubicBezTo>
                      <a:pt x="530232" y="455720"/>
                      <a:pt x="531342" y="458985"/>
                      <a:pt x="532042" y="462308"/>
                    </a:cubicBezTo>
                    <a:cubicBezTo>
                      <a:pt x="538408" y="481607"/>
                      <a:pt x="552539" y="524694"/>
                      <a:pt x="558671" y="548307"/>
                    </a:cubicBezTo>
                    <a:cubicBezTo>
                      <a:pt x="559547" y="550697"/>
                      <a:pt x="560131" y="553204"/>
                      <a:pt x="560539" y="555828"/>
                    </a:cubicBezTo>
                    <a:cubicBezTo>
                      <a:pt x="560831" y="558102"/>
                      <a:pt x="561065" y="560492"/>
                      <a:pt x="561065" y="562824"/>
                    </a:cubicBezTo>
                    <a:cubicBezTo>
                      <a:pt x="561065" y="588187"/>
                      <a:pt x="540510" y="608710"/>
                      <a:pt x="515166" y="608710"/>
                    </a:cubicBezTo>
                    <a:lnTo>
                      <a:pt x="471311" y="608710"/>
                    </a:lnTo>
                    <a:lnTo>
                      <a:pt x="283044" y="608710"/>
                    </a:lnTo>
                    <a:lnTo>
                      <a:pt x="280532" y="608710"/>
                    </a:lnTo>
                    <a:lnTo>
                      <a:pt x="278080" y="608710"/>
                    </a:lnTo>
                    <a:cubicBezTo>
                      <a:pt x="215305" y="608768"/>
                      <a:pt x="152529" y="608710"/>
                      <a:pt x="89812" y="608710"/>
                    </a:cubicBezTo>
                    <a:lnTo>
                      <a:pt x="45957" y="608710"/>
                    </a:lnTo>
                    <a:cubicBezTo>
                      <a:pt x="20555" y="608710"/>
                      <a:pt x="0" y="588187"/>
                      <a:pt x="0" y="562824"/>
                    </a:cubicBezTo>
                    <a:cubicBezTo>
                      <a:pt x="0" y="560492"/>
                      <a:pt x="175" y="558102"/>
                      <a:pt x="584" y="555828"/>
                    </a:cubicBezTo>
                    <a:cubicBezTo>
                      <a:pt x="934" y="553263"/>
                      <a:pt x="1577" y="550697"/>
                      <a:pt x="2453" y="548307"/>
                    </a:cubicBezTo>
                    <a:cubicBezTo>
                      <a:pt x="8584" y="524577"/>
                      <a:pt x="22657" y="481607"/>
                      <a:pt x="29081" y="462308"/>
                    </a:cubicBezTo>
                    <a:cubicBezTo>
                      <a:pt x="29782" y="458985"/>
                      <a:pt x="30833" y="455720"/>
                      <a:pt x="32234" y="452688"/>
                    </a:cubicBezTo>
                    <a:lnTo>
                      <a:pt x="32234" y="452630"/>
                    </a:lnTo>
                    <a:cubicBezTo>
                      <a:pt x="36147" y="444234"/>
                      <a:pt x="42512" y="437238"/>
                      <a:pt x="50395" y="432457"/>
                    </a:cubicBezTo>
                    <a:cubicBezTo>
                      <a:pt x="50863" y="432107"/>
                      <a:pt x="51855" y="431524"/>
                      <a:pt x="53198" y="430941"/>
                    </a:cubicBezTo>
                    <a:cubicBezTo>
                      <a:pt x="53724" y="430591"/>
                      <a:pt x="54308" y="430358"/>
                      <a:pt x="54833" y="430125"/>
                    </a:cubicBezTo>
                    <a:cubicBezTo>
                      <a:pt x="70308" y="422895"/>
                      <a:pt x="117901" y="403888"/>
                      <a:pt x="117901" y="403888"/>
                    </a:cubicBezTo>
                    <a:cubicBezTo>
                      <a:pt x="141726" y="393626"/>
                      <a:pt x="166311" y="384823"/>
                      <a:pt x="191479" y="375902"/>
                    </a:cubicBezTo>
                    <a:close/>
                    <a:moveTo>
                      <a:pt x="277747" y="0"/>
                    </a:moveTo>
                    <a:lnTo>
                      <a:pt x="277980" y="0"/>
                    </a:lnTo>
                    <a:lnTo>
                      <a:pt x="278214" y="0"/>
                    </a:lnTo>
                    <a:lnTo>
                      <a:pt x="280491" y="0"/>
                    </a:lnTo>
                    <a:lnTo>
                      <a:pt x="282768" y="0"/>
                    </a:lnTo>
                    <a:lnTo>
                      <a:pt x="283001" y="0"/>
                    </a:lnTo>
                    <a:lnTo>
                      <a:pt x="283235" y="0"/>
                    </a:lnTo>
                    <a:cubicBezTo>
                      <a:pt x="348858" y="0"/>
                      <a:pt x="402105" y="53118"/>
                      <a:pt x="401988" y="118656"/>
                    </a:cubicBezTo>
                    <a:cubicBezTo>
                      <a:pt x="401988" y="125420"/>
                      <a:pt x="400470" y="154807"/>
                      <a:pt x="400470" y="162854"/>
                    </a:cubicBezTo>
                    <a:cubicBezTo>
                      <a:pt x="403331" y="163029"/>
                      <a:pt x="429954" y="156673"/>
                      <a:pt x="427093" y="188509"/>
                    </a:cubicBezTo>
                    <a:cubicBezTo>
                      <a:pt x="421021" y="256030"/>
                      <a:pt x="395215" y="242969"/>
                      <a:pt x="394456" y="242969"/>
                    </a:cubicBezTo>
                    <a:cubicBezTo>
                      <a:pt x="381670" y="283901"/>
                      <a:pt x="361820" y="309964"/>
                      <a:pt x="342436" y="326465"/>
                    </a:cubicBezTo>
                    <a:cubicBezTo>
                      <a:pt x="312485" y="351946"/>
                      <a:pt x="283468" y="354745"/>
                      <a:pt x="283001" y="354745"/>
                    </a:cubicBezTo>
                    <a:cubicBezTo>
                      <a:pt x="282125" y="354803"/>
                      <a:pt x="281250" y="354803"/>
                      <a:pt x="280491" y="354803"/>
                    </a:cubicBezTo>
                    <a:cubicBezTo>
                      <a:pt x="279615" y="354803"/>
                      <a:pt x="278856" y="354745"/>
                      <a:pt x="277980" y="354745"/>
                    </a:cubicBezTo>
                    <a:cubicBezTo>
                      <a:pt x="277455" y="354745"/>
                      <a:pt x="248263" y="351946"/>
                      <a:pt x="218136" y="326116"/>
                    </a:cubicBezTo>
                    <a:cubicBezTo>
                      <a:pt x="198811" y="309556"/>
                      <a:pt x="179136" y="283609"/>
                      <a:pt x="166467" y="242969"/>
                    </a:cubicBezTo>
                    <a:cubicBezTo>
                      <a:pt x="165649" y="242969"/>
                      <a:pt x="139902" y="256030"/>
                      <a:pt x="133830" y="188509"/>
                    </a:cubicBezTo>
                    <a:cubicBezTo>
                      <a:pt x="130969" y="156731"/>
                      <a:pt x="157592" y="163087"/>
                      <a:pt x="160453" y="162970"/>
                    </a:cubicBezTo>
                    <a:cubicBezTo>
                      <a:pt x="160453" y="154807"/>
                      <a:pt x="158877" y="125478"/>
                      <a:pt x="158877" y="118715"/>
                    </a:cubicBezTo>
                    <a:cubicBezTo>
                      <a:pt x="158877" y="53177"/>
                      <a:pt x="212123" y="0"/>
                      <a:pt x="27774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227965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5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endParaRPr>
              </a:p>
            </p:txBody>
          </p:sp>
        </p:grpSp>
        <p:sp>
          <p:nvSpPr>
            <p:cNvPr id="16" name="矩形: 剪去左右顶角 15">
              <a:extLst>
                <a:ext uri="{FF2B5EF4-FFF2-40B4-BE49-F238E27FC236}">
                  <a16:creationId xmlns:a16="http://schemas.microsoft.com/office/drawing/2014/main" id="{F56A0CE4-99BF-482B-A48B-4668221A6271}"/>
                </a:ext>
              </a:extLst>
            </p:cNvPr>
            <p:cNvSpPr/>
            <p:nvPr/>
          </p:nvSpPr>
          <p:spPr>
            <a:xfrm>
              <a:off x="4643105" y="5164808"/>
              <a:ext cx="2905791" cy="969292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200" dirty="0"/>
                <a:t>Supporting text here. 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200" dirty="0"/>
                <a:t>When you copy &amp; paste, choose "keep text only" option.</a:t>
              </a: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A2F0A31F-EB11-40BB-8059-A419D57874A3}"/>
                </a:ext>
              </a:extLst>
            </p:cNvPr>
            <p:cNvSpPr txBox="1"/>
            <p:nvPr/>
          </p:nvSpPr>
          <p:spPr bwMode="auto">
            <a:xfrm>
              <a:off x="4643105" y="4632580"/>
              <a:ext cx="2905791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lvl="0" algn="ctr"/>
              <a:r>
                <a:rPr lang="en-US" altLang="zh-CN" b="1" dirty="0"/>
                <a:t>…</a:t>
              </a:r>
              <a:r>
                <a:rPr lang="zh-CN" altLang="en-US" b="1" dirty="0"/>
                <a:t>计划</a:t>
              </a:r>
            </a:p>
          </p:txBody>
        </p:sp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6A5372B0-54B7-43E1-B0AA-1C34477D17DA}"/>
                </a:ext>
              </a:extLst>
            </p:cNvPr>
            <p:cNvSpPr/>
            <p:nvPr/>
          </p:nvSpPr>
          <p:spPr>
            <a:xfrm>
              <a:off x="6015781" y="4352925"/>
              <a:ext cx="160438" cy="160438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2442365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成果项目展示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zh-CN" altLang="en-US" dirty="0"/>
              <a:t>项目前期   执行阶段   成果展示</a:t>
            </a:r>
            <a:endParaRPr lang="en-US" altLang="zh-CN" dirty="0"/>
          </a:p>
          <a:p>
            <a:pPr>
              <a:defRPr/>
            </a:pPr>
            <a:r>
              <a:rPr lang="zh-CN" altLang="en-US" dirty="0"/>
              <a:t>效益展示   成绩展示</a:t>
            </a:r>
            <a:endParaRPr lang="en-US" altLang="zh-CN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766951" y="330180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84120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C9CCE67-4A39-452B-897D-57E377B154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前期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F24AF4E-11FF-4D0A-822E-6D24A9F751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 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30671C8-05FD-4FE6-8E8D-3B56EF454D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BBA3C97-41EF-4BDC-A7C0-540646FE7910}"/>
              </a:ext>
            </a:extLst>
          </p:cNvPr>
          <p:cNvGrpSpPr>
            <a:grpSpLocks noChangeAspect="1"/>
          </p:cNvGrpSpPr>
          <p:nvPr/>
        </p:nvGrpSpPr>
        <p:grpSpPr>
          <a:xfrm>
            <a:off x="670718" y="1123950"/>
            <a:ext cx="10850564" cy="4881133"/>
            <a:chOff x="670718" y="1123950"/>
            <a:chExt cx="10850564" cy="4881133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E18A2092-E7B8-45C1-B1AC-8413EA904EAC}"/>
                </a:ext>
              </a:extLst>
            </p:cNvPr>
            <p:cNvSpPr/>
            <p:nvPr/>
          </p:nvSpPr>
          <p:spPr>
            <a:xfrm>
              <a:off x="4584626" y="1123950"/>
              <a:ext cx="6936656" cy="2281935"/>
            </a:xfrm>
            <a:prstGeom prst="rect">
              <a:avLst/>
            </a:prstGeom>
            <a:blipFill>
              <a:blip r:embed="rId2"/>
              <a:stretch>
                <a:fillRect t="-54478" b="-53876"/>
              </a:stretch>
            </a:blipFill>
            <a:ln w="190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0BB8FF29-715E-4D98-86AE-5766470274EA}"/>
                </a:ext>
              </a:extLst>
            </p:cNvPr>
            <p:cNvSpPr/>
            <p:nvPr/>
          </p:nvSpPr>
          <p:spPr bwMode="auto">
            <a:xfrm>
              <a:off x="4712821" y="5134264"/>
              <a:ext cx="936104" cy="846627"/>
            </a:xfrm>
            <a:custGeom>
              <a:avLst/>
              <a:gdLst>
                <a:gd name="connsiteX0" fmla="*/ 315778 w 607639"/>
                <a:gd name="connsiteY0" fmla="*/ 173080 h 579502"/>
                <a:gd name="connsiteX1" fmla="*/ 315778 w 607639"/>
                <a:gd name="connsiteY1" fmla="*/ 266058 h 579502"/>
                <a:gd name="connsiteX2" fmla="*/ 303493 w 607639"/>
                <a:gd name="connsiteY2" fmla="*/ 278325 h 579502"/>
                <a:gd name="connsiteX3" fmla="*/ 210375 w 607639"/>
                <a:gd name="connsiteY3" fmla="*/ 278325 h 579502"/>
                <a:gd name="connsiteX4" fmla="*/ 303493 w 607639"/>
                <a:gd name="connsiteY4" fmla="*/ 359925 h 579502"/>
                <a:gd name="connsiteX5" fmla="*/ 397500 w 607639"/>
                <a:gd name="connsiteY5" fmla="*/ 266058 h 579502"/>
                <a:gd name="connsiteX6" fmla="*/ 315778 w 607639"/>
                <a:gd name="connsiteY6" fmla="*/ 173080 h 579502"/>
                <a:gd name="connsiteX7" fmla="*/ 249814 w 607639"/>
                <a:gd name="connsiteY7" fmla="*/ 160816 h 579502"/>
                <a:gd name="connsiteX8" fmla="*/ 198110 w 607639"/>
                <a:gd name="connsiteY8" fmla="*/ 212449 h 579502"/>
                <a:gd name="connsiteX9" fmla="*/ 249814 w 607639"/>
                <a:gd name="connsiteY9" fmla="*/ 212449 h 579502"/>
                <a:gd name="connsiteX10" fmla="*/ 303493 w 607639"/>
                <a:gd name="connsiteY10" fmla="*/ 147835 h 579502"/>
                <a:gd name="connsiteX11" fmla="*/ 421981 w 607639"/>
                <a:gd name="connsiteY11" fmla="*/ 266058 h 579502"/>
                <a:gd name="connsiteX12" fmla="*/ 303493 w 607639"/>
                <a:gd name="connsiteY12" fmla="*/ 384370 h 579502"/>
                <a:gd name="connsiteX13" fmla="*/ 185093 w 607639"/>
                <a:gd name="connsiteY13" fmla="*/ 266058 h 579502"/>
                <a:gd name="connsiteX14" fmla="*/ 197289 w 607639"/>
                <a:gd name="connsiteY14" fmla="*/ 253880 h 579502"/>
                <a:gd name="connsiteX15" fmla="*/ 291297 w 607639"/>
                <a:gd name="connsiteY15" fmla="*/ 253880 h 579502"/>
                <a:gd name="connsiteX16" fmla="*/ 291297 w 607639"/>
                <a:gd name="connsiteY16" fmla="*/ 160013 h 579502"/>
                <a:gd name="connsiteX17" fmla="*/ 303493 w 607639"/>
                <a:gd name="connsiteY17" fmla="*/ 147835 h 579502"/>
                <a:gd name="connsiteX18" fmla="*/ 262095 w 607639"/>
                <a:gd name="connsiteY18" fmla="*/ 135133 h 579502"/>
                <a:gd name="connsiteX19" fmla="*/ 274287 w 607639"/>
                <a:gd name="connsiteY19" fmla="*/ 147397 h 579502"/>
                <a:gd name="connsiteX20" fmla="*/ 274287 w 607639"/>
                <a:gd name="connsiteY20" fmla="*/ 224713 h 579502"/>
                <a:gd name="connsiteX21" fmla="*/ 262095 w 607639"/>
                <a:gd name="connsiteY21" fmla="*/ 236888 h 579502"/>
                <a:gd name="connsiteX22" fmla="*/ 184672 w 607639"/>
                <a:gd name="connsiteY22" fmla="*/ 236888 h 579502"/>
                <a:gd name="connsiteX23" fmla="*/ 172391 w 607639"/>
                <a:gd name="connsiteY23" fmla="*/ 224713 h 579502"/>
                <a:gd name="connsiteX24" fmla="*/ 262095 w 607639"/>
                <a:gd name="connsiteY24" fmla="*/ 135133 h 579502"/>
                <a:gd name="connsiteX25" fmla="*/ 58120 w 607639"/>
                <a:gd name="connsiteY25" fmla="*/ 108514 h 579502"/>
                <a:gd name="connsiteX26" fmla="*/ 58120 w 607639"/>
                <a:gd name="connsiteY26" fmla="*/ 413970 h 579502"/>
                <a:gd name="connsiteX27" fmla="*/ 549430 w 607639"/>
                <a:gd name="connsiteY27" fmla="*/ 413970 h 579502"/>
                <a:gd name="connsiteX28" fmla="*/ 549430 w 607639"/>
                <a:gd name="connsiteY28" fmla="*/ 108514 h 579502"/>
                <a:gd name="connsiteX29" fmla="*/ 27236 w 607639"/>
                <a:gd name="connsiteY29" fmla="*/ 56079 h 579502"/>
                <a:gd name="connsiteX30" fmla="*/ 27236 w 607639"/>
                <a:gd name="connsiteY30" fmla="*/ 81319 h 579502"/>
                <a:gd name="connsiteX31" fmla="*/ 580403 w 607639"/>
                <a:gd name="connsiteY31" fmla="*/ 81319 h 579502"/>
                <a:gd name="connsiteX32" fmla="*/ 580403 w 607639"/>
                <a:gd name="connsiteY32" fmla="*/ 56079 h 579502"/>
                <a:gd name="connsiteX33" fmla="*/ 303775 w 607639"/>
                <a:gd name="connsiteY33" fmla="*/ 0 h 579502"/>
                <a:gd name="connsiteX34" fmla="*/ 317393 w 607639"/>
                <a:gd name="connsiteY34" fmla="*/ 13597 h 579502"/>
                <a:gd name="connsiteX35" fmla="*/ 317393 w 607639"/>
                <a:gd name="connsiteY35" fmla="*/ 28884 h 579502"/>
                <a:gd name="connsiteX36" fmla="*/ 580403 w 607639"/>
                <a:gd name="connsiteY36" fmla="*/ 28884 h 579502"/>
                <a:gd name="connsiteX37" fmla="*/ 607639 w 607639"/>
                <a:gd name="connsiteY37" fmla="*/ 56079 h 579502"/>
                <a:gd name="connsiteX38" fmla="*/ 607639 w 607639"/>
                <a:gd name="connsiteY38" fmla="*/ 81319 h 579502"/>
                <a:gd name="connsiteX39" fmla="*/ 580403 w 607639"/>
                <a:gd name="connsiteY39" fmla="*/ 108514 h 579502"/>
                <a:gd name="connsiteX40" fmla="*/ 576665 w 607639"/>
                <a:gd name="connsiteY40" fmla="*/ 108514 h 579502"/>
                <a:gd name="connsiteX41" fmla="*/ 576665 w 607639"/>
                <a:gd name="connsiteY41" fmla="*/ 413970 h 579502"/>
                <a:gd name="connsiteX42" fmla="*/ 549430 w 607639"/>
                <a:gd name="connsiteY42" fmla="*/ 441165 h 579502"/>
                <a:gd name="connsiteX43" fmla="*/ 317393 w 607639"/>
                <a:gd name="connsiteY43" fmla="*/ 441165 h 579502"/>
                <a:gd name="connsiteX44" fmla="*/ 317393 w 607639"/>
                <a:gd name="connsiteY44" fmla="*/ 481069 h 579502"/>
                <a:gd name="connsiteX45" fmla="*/ 418236 w 607639"/>
                <a:gd name="connsiteY45" fmla="*/ 554923 h 579502"/>
                <a:gd name="connsiteX46" fmla="*/ 421173 w 607639"/>
                <a:gd name="connsiteY46" fmla="*/ 573942 h 579502"/>
                <a:gd name="connsiteX47" fmla="*/ 410225 w 607639"/>
                <a:gd name="connsiteY47" fmla="*/ 579452 h 579502"/>
                <a:gd name="connsiteX48" fmla="*/ 402215 w 607639"/>
                <a:gd name="connsiteY48" fmla="*/ 576874 h 579502"/>
                <a:gd name="connsiteX49" fmla="*/ 317393 w 607639"/>
                <a:gd name="connsiteY49" fmla="*/ 514752 h 579502"/>
                <a:gd name="connsiteX50" fmla="*/ 317393 w 607639"/>
                <a:gd name="connsiteY50" fmla="*/ 565854 h 579502"/>
                <a:gd name="connsiteX51" fmla="*/ 303775 w 607639"/>
                <a:gd name="connsiteY51" fmla="*/ 579452 h 579502"/>
                <a:gd name="connsiteX52" fmla="*/ 290157 w 607639"/>
                <a:gd name="connsiteY52" fmla="*/ 565854 h 579502"/>
                <a:gd name="connsiteX53" fmla="*/ 290157 w 607639"/>
                <a:gd name="connsiteY53" fmla="*/ 514752 h 579502"/>
                <a:gd name="connsiteX54" fmla="*/ 205424 w 607639"/>
                <a:gd name="connsiteY54" fmla="*/ 576874 h 579502"/>
                <a:gd name="connsiteX55" fmla="*/ 186377 w 607639"/>
                <a:gd name="connsiteY55" fmla="*/ 573942 h 579502"/>
                <a:gd name="connsiteX56" fmla="*/ 189314 w 607639"/>
                <a:gd name="connsiteY56" fmla="*/ 554923 h 579502"/>
                <a:gd name="connsiteX57" fmla="*/ 290157 w 607639"/>
                <a:gd name="connsiteY57" fmla="*/ 481069 h 579502"/>
                <a:gd name="connsiteX58" fmla="*/ 290157 w 607639"/>
                <a:gd name="connsiteY58" fmla="*/ 441165 h 579502"/>
                <a:gd name="connsiteX59" fmla="*/ 58120 w 607639"/>
                <a:gd name="connsiteY59" fmla="*/ 441165 h 579502"/>
                <a:gd name="connsiteX60" fmla="*/ 30885 w 607639"/>
                <a:gd name="connsiteY60" fmla="*/ 413970 h 579502"/>
                <a:gd name="connsiteX61" fmla="*/ 30885 w 607639"/>
                <a:gd name="connsiteY61" fmla="*/ 108514 h 579502"/>
                <a:gd name="connsiteX62" fmla="*/ 27236 w 607639"/>
                <a:gd name="connsiteY62" fmla="*/ 108514 h 579502"/>
                <a:gd name="connsiteX63" fmla="*/ 0 w 607639"/>
                <a:gd name="connsiteY63" fmla="*/ 81319 h 579502"/>
                <a:gd name="connsiteX64" fmla="*/ 0 w 607639"/>
                <a:gd name="connsiteY64" fmla="*/ 56079 h 579502"/>
                <a:gd name="connsiteX65" fmla="*/ 27236 w 607639"/>
                <a:gd name="connsiteY65" fmla="*/ 28884 h 579502"/>
                <a:gd name="connsiteX66" fmla="*/ 290157 w 607639"/>
                <a:gd name="connsiteY66" fmla="*/ 28884 h 579502"/>
                <a:gd name="connsiteX67" fmla="*/ 290157 w 607639"/>
                <a:gd name="connsiteY67" fmla="*/ 13597 h 579502"/>
                <a:gd name="connsiteX68" fmla="*/ 303775 w 607639"/>
                <a:gd name="connsiteY68" fmla="*/ 0 h 579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607639" h="579502">
                  <a:moveTo>
                    <a:pt x="315778" y="173080"/>
                  </a:moveTo>
                  <a:lnTo>
                    <a:pt x="315778" y="266058"/>
                  </a:lnTo>
                  <a:cubicBezTo>
                    <a:pt x="315778" y="272814"/>
                    <a:pt x="310258" y="278325"/>
                    <a:pt x="303493" y="278325"/>
                  </a:cubicBezTo>
                  <a:lnTo>
                    <a:pt x="210375" y="278325"/>
                  </a:lnTo>
                  <a:cubicBezTo>
                    <a:pt x="216429" y="324281"/>
                    <a:pt x="255866" y="359925"/>
                    <a:pt x="303493" y="359925"/>
                  </a:cubicBezTo>
                  <a:cubicBezTo>
                    <a:pt x="355303" y="359925"/>
                    <a:pt x="397500" y="317792"/>
                    <a:pt x="397500" y="266058"/>
                  </a:cubicBezTo>
                  <a:cubicBezTo>
                    <a:pt x="397500" y="218502"/>
                    <a:pt x="361802" y="179124"/>
                    <a:pt x="315778" y="173080"/>
                  </a:cubicBezTo>
                  <a:close/>
                  <a:moveTo>
                    <a:pt x="249814" y="160816"/>
                  </a:moveTo>
                  <a:cubicBezTo>
                    <a:pt x="223740" y="165793"/>
                    <a:pt x="203093" y="186410"/>
                    <a:pt x="198110" y="212449"/>
                  </a:cubicBezTo>
                  <a:lnTo>
                    <a:pt x="249814" y="212449"/>
                  </a:lnTo>
                  <a:close/>
                  <a:moveTo>
                    <a:pt x="303493" y="147835"/>
                  </a:moveTo>
                  <a:cubicBezTo>
                    <a:pt x="368835" y="147835"/>
                    <a:pt x="421981" y="200902"/>
                    <a:pt x="421981" y="266058"/>
                  </a:cubicBezTo>
                  <a:cubicBezTo>
                    <a:pt x="421981" y="331303"/>
                    <a:pt x="368835" y="384370"/>
                    <a:pt x="303493" y="384370"/>
                  </a:cubicBezTo>
                  <a:cubicBezTo>
                    <a:pt x="238239" y="384370"/>
                    <a:pt x="185093" y="331303"/>
                    <a:pt x="185093" y="266058"/>
                  </a:cubicBezTo>
                  <a:cubicBezTo>
                    <a:pt x="185093" y="259303"/>
                    <a:pt x="190523" y="253880"/>
                    <a:pt x="197289" y="253880"/>
                  </a:cubicBezTo>
                  <a:lnTo>
                    <a:pt x="291297" y="253880"/>
                  </a:lnTo>
                  <a:lnTo>
                    <a:pt x="291297" y="160013"/>
                  </a:lnTo>
                  <a:cubicBezTo>
                    <a:pt x="291297" y="153257"/>
                    <a:pt x="296727" y="147835"/>
                    <a:pt x="303493" y="147835"/>
                  </a:cubicBezTo>
                  <a:close/>
                  <a:moveTo>
                    <a:pt x="262095" y="135133"/>
                  </a:moveTo>
                  <a:cubicBezTo>
                    <a:pt x="268859" y="135133"/>
                    <a:pt x="274287" y="140643"/>
                    <a:pt x="274287" y="147397"/>
                  </a:cubicBezTo>
                  <a:lnTo>
                    <a:pt x="274287" y="224713"/>
                  </a:lnTo>
                  <a:cubicBezTo>
                    <a:pt x="274287" y="231467"/>
                    <a:pt x="268859" y="236888"/>
                    <a:pt x="262095" y="236888"/>
                  </a:cubicBezTo>
                  <a:lnTo>
                    <a:pt x="184672" y="236888"/>
                  </a:lnTo>
                  <a:cubicBezTo>
                    <a:pt x="177909" y="236888"/>
                    <a:pt x="172391" y="231467"/>
                    <a:pt x="172391" y="224713"/>
                  </a:cubicBezTo>
                  <a:cubicBezTo>
                    <a:pt x="172391" y="175302"/>
                    <a:pt x="212616" y="135133"/>
                    <a:pt x="262095" y="135133"/>
                  </a:cubicBezTo>
                  <a:close/>
                  <a:moveTo>
                    <a:pt x="58120" y="108514"/>
                  </a:moveTo>
                  <a:lnTo>
                    <a:pt x="58120" y="413970"/>
                  </a:lnTo>
                  <a:lnTo>
                    <a:pt x="549430" y="413970"/>
                  </a:lnTo>
                  <a:lnTo>
                    <a:pt x="549430" y="108514"/>
                  </a:lnTo>
                  <a:close/>
                  <a:moveTo>
                    <a:pt x="27236" y="56079"/>
                  </a:moveTo>
                  <a:lnTo>
                    <a:pt x="27236" y="81319"/>
                  </a:lnTo>
                  <a:lnTo>
                    <a:pt x="580403" y="81319"/>
                  </a:lnTo>
                  <a:lnTo>
                    <a:pt x="580403" y="56079"/>
                  </a:lnTo>
                  <a:close/>
                  <a:moveTo>
                    <a:pt x="303775" y="0"/>
                  </a:moveTo>
                  <a:cubicBezTo>
                    <a:pt x="311341" y="0"/>
                    <a:pt x="317393" y="6132"/>
                    <a:pt x="317393" y="13597"/>
                  </a:cubicBezTo>
                  <a:lnTo>
                    <a:pt x="317393" y="28884"/>
                  </a:lnTo>
                  <a:lnTo>
                    <a:pt x="580403" y="28884"/>
                  </a:lnTo>
                  <a:cubicBezTo>
                    <a:pt x="595356" y="28884"/>
                    <a:pt x="607639" y="41148"/>
                    <a:pt x="607639" y="56079"/>
                  </a:cubicBezTo>
                  <a:lnTo>
                    <a:pt x="607639" y="81319"/>
                  </a:lnTo>
                  <a:cubicBezTo>
                    <a:pt x="607639" y="96338"/>
                    <a:pt x="595356" y="108514"/>
                    <a:pt x="580403" y="108514"/>
                  </a:cubicBezTo>
                  <a:lnTo>
                    <a:pt x="576665" y="108514"/>
                  </a:lnTo>
                  <a:lnTo>
                    <a:pt x="576665" y="413970"/>
                  </a:lnTo>
                  <a:cubicBezTo>
                    <a:pt x="576665" y="428990"/>
                    <a:pt x="564472" y="441165"/>
                    <a:pt x="549430" y="441165"/>
                  </a:cubicBezTo>
                  <a:lnTo>
                    <a:pt x="317393" y="441165"/>
                  </a:lnTo>
                  <a:lnTo>
                    <a:pt x="317393" y="481069"/>
                  </a:lnTo>
                  <a:lnTo>
                    <a:pt x="418236" y="554923"/>
                  </a:lnTo>
                  <a:cubicBezTo>
                    <a:pt x="424377" y="559366"/>
                    <a:pt x="425623" y="567898"/>
                    <a:pt x="421173" y="573942"/>
                  </a:cubicBezTo>
                  <a:cubicBezTo>
                    <a:pt x="418503" y="577585"/>
                    <a:pt x="414409" y="579452"/>
                    <a:pt x="410225" y="579452"/>
                  </a:cubicBezTo>
                  <a:cubicBezTo>
                    <a:pt x="407466" y="579452"/>
                    <a:pt x="404618" y="578652"/>
                    <a:pt x="402215" y="576874"/>
                  </a:cubicBezTo>
                  <a:lnTo>
                    <a:pt x="317393" y="514752"/>
                  </a:lnTo>
                  <a:lnTo>
                    <a:pt x="317393" y="565854"/>
                  </a:lnTo>
                  <a:cubicBezTo>
                    <a:pt x="317393" y="573408"/>
                    <a:pt x="311341" y="579452"/>
                    <a:pt x="303775" y="579452"/>
                  </a:cubicBezTo>
                  <a:cubicBezTo>
                    <a:pt x="296299" y="579452"/>
                    <a:pt x="290157" y="573408"/>
                    <a:pt x="290157" y="565854"/>
                  </a:cubicBezTo>
                  <a:lnTo>
                    <a:pt x="290157" y="514752"/>
                  </a:lnTo>
                  <a:lnTo>
                    <a:pt x="205424" y="576874"/>
                  </a:lnTo>
                  <a:cubicBezTo>
                    <a:pt x="199372" y="581318"/>
                    <a:pt x="190827" y="579985"/>
                    <a:pt x="186377" y="573942"/>
                  </a:cubicBezTo>
                  <a:cubicBezTo>
                    <a:pt x="181927" y="567898"/>
                    <a:pt x="183262" y="559366"/>
                    <a:pt x="189314" y="554923"/>
                  </a:cubicBezTo>
                  <a:lnTo>
                    <a:pt x="290157" y="481069"/>
                  </a:lnTo>
                  <a:lnTo>
                    <a:pt x="290157" y="441165"/>
                  </a:lnTo>
                  <a:lnTo>
                    <a:pt x="58120" y="441165"/>
                  </a:lnTo>
                  <a:cubicBezTo>
                    <a:pt x="43167" y="441165"/>
                    <a:pt x="30885" y="428990"/>
                    <a:pt x="30885" y="413970"/>
                  </a:cubicBezTo>
                  <a:lnTo>
                    <a:pt x="30885" y="108514"/>
                  </a:lnTo>
                  <a:lnTo>
                    <a:pt x="27236" y="108514"/>
                  </a:lnTo>
                  <a:cubicBezTo>
                    <a:pt x="12194" y="108514"/>
                    <a:pt x="0" y="96338"/>
                    <a:pt x="0" y="81319"/>
                  </a:cubicBezTo>
                  <a:lnTo>
                    <a:pt x="0" y="56079"/>
                  </a:lnTo>
                  <a:cubicBezTo>
                    <a:pt x="0" y="41148"/>
                    <a:pt x="12194" y="28884"/>
                    <a:pt x="27236" y="28884"/>
                  </a:cubicBezTo>
                  <a:lnTo>
                    <a:pt x="290157" y="28884"/>
                  </a:lnTo>
                  <a:lnTo>
                    <a:pt x="290157" y="13597"/>
                  </a:lnTo>
                  <a:cubicBezTo>
                    <a:pt x="290157" y="6132"/>
                    <a:pt x="296299" y="0"/>
                    <a:pt x="303775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B71F3905-2895-46F1-A9DB-D0077777512A}"/>
                </a:ext>
              </a:extLst>
            </p:cNvPr>
            <p:cNvCxnSpPr/>
            <p:nvPr/>
          </p:nvCxnSpPr>
          <p:spPr>
            <a:xfrm>
              <a:off x="4584626" y="3405883"/>
              <a:ext cx="0" cy="259920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C1ED0B3D-8185-40EE-BF88-C1F14CCA241F}"/>
                </a:ext>
              </a:extLst>
            </p:cNvPr>
            <p:cNvSpPr/>
            <p:nvPr/>
          </p:nvSpPr>
          <p:spPr bwMode="auto">
            <a:xfrm>
              <a:off x="7045434" y="5134264"/>
              <a:ext cx="936104" cy="846627"/>
            </a:xfrm>
            <a:custGeom>
              <a:avLst/>
              <a:gdLst>
                <a:gd name="connsiteX0" fmla="*/ 139649 w 606580"/>
                <a:gd name="connsiteY0" fmla="*/ 323260 h 605592"/>
                <a:gd name="connsiteX1" fmla="*/ 274852 w 606580"/>
                <a:gd name="connsiteY1" fmla="*/ 323260 h 605592"/>
                <a:gd name="connsiteX2" fmla="*/ 274852 w 606580"/>
                <a:gd name="connsiteY2" fmla="*/ 349440 h 605592"/>
                <a:gd name="connsiteX3" fmla="*/ 139649 w 606580"/>
                <a:gd name="connsiteY3" fmla="*/ 349440 h 605592"/>
                <a:gd name="connsiteX4" fmla="*/ 66294 w 606580"/>
                <a:gd name="connsiteY4" fmla="*/ 26233 h 605592"/>
                <a:gd name="connsiteX5" fmla="*/ 66294 w 606580"/>
                <a:gd name="connsiteY5" fmla="*/ 375703 h 605592"/>
                <a:gd name="connsiteX6" fmla="*/ 540286 w 606580"/>
                <a:gd name="connsiteY6" fmla="*/ 375703 h 605592"/>
                <a:gd name="connsiteX7" fmla="*/ 540286 w 606580"/>
                <a:gd name="connsiteY7" fmla="*/ 26233 h 605592"/>
                <a:gd name="connsiteX8" fmla="*/ 39925 w 606580"/>
                <a:gd name="connsiteY8" fmla="*/ 0 h 605592"/>
                <a:gd name="connsiteX9" fmla="*/ 566655 w 606580"/>
                <a:gd name="connsiteY9" fmla="*/ 0 h 605592"/>
                <a:gd name="connsiteX10" fmla="*/ 566655 w 606580"/>
                <a:gd name="connsiteY10" fmla="*/ 375703 h 605592"/>
                <a:gd name="connsiteX11" fmla="*/ 606580 w 606580"/>
                <a:gd name="connsiteY11" fmla="*/ 375703 h 605592"/>
                <a:gd name="connsiteX12" fmla="*/ 606580 w 606580"/>
                <a:gd name="connsiteY12" fmla="*/ 401936 h 605592"/>
                <a:gd name="connsiteX13" fmla="*/ 373716 w 606580"/>
                <a:gd name="connsiteY13" fmla="*/ 401936 h 605592"/>
                <a:gd name="connsiteX14" fmla="*/ 413269 w 606580"/>
                <a:gd name="connsiteY14" fmla="*/ 600587 h 605592"/>
                <a:gd name="connsiteX15" fmla="*/ 387364 w 606580"/>
                <a:gd name="connsiteY15" fmla="*/ 605592 h 605592"/>
                <a:gd name="connsiteX16" fmla="*/ 346790 w 606580"/>
                <a:gd name="connsiteY16" fmla="*/ 401936 h 605592"/>
                <a:gd name="connsiteX17" fmla="*/ 316521 w 606580"/>
                <a:gd name="connsiteY17" fmla="*/ 401936 h 605592"/>
                <a:gd name="connsiteX18" fmla="*/ 316521 w 606580"/>
                <a:gd name="connsiteY18" fmla="*/ 551828 h 605592"/>
                <a:gd name="connsiteX19" fmla="*/ 290059 w 606580"/>
                <a:gd name="connsiteY19" fmla="*/ 551828 h 605592"/>
                <a:gd name="connsiteX20" fmla="*/ 290059 w 606580"/>
                <a:gd name="connsiteY20" fmla="*/ 401936 h 605592"/>
                <a:gd name="connsiteX21" fmla="*/ 247163 w 606580"/>
                <a:gd name="connsiteY21" fmla="*/ 401936 h 605592"/>
                <a:gd name="connsiteX22" fmla="*/ 206588 w 606580"/>
                <a:gd name="connsiteY22" fmla="*/ 605592 h 605592"/>
                <a:gd name="connsiteX23" fmla="*/ 180591 w 606580"/>
                <a:gd name="connsiteY23" fmla="*/ 600494 h 605592"/>
                <a:gd name="connsiteX24" fmla="*/ 220237 w 606580"/>
                <a:gd name="connsiteY24" fmla="*/ 401936 h 605592"/>
                <a:gd name="connsiteX25" fmla="*/ 0 w 606580"/>
                <a:gd name="connsiteY25" fmla="*/ 401936 h 605592"/>
                <a:gd name="connsiteX26" fmla="*/ 0 w 606580"/>
                <a:gd name="connsiteY26" fmla="*/ 375703 h 605592"/>
                <a:gd name="connsiteX27" fmla="*/ 39925 w 606580"/>
                <a:gd name="connsiteY27" fmla="*/ 375703 h 605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606580" h="605592">
                  <a:moveTo>
                    <a:pt x="139649" y="323260"/>
                  </a:moveTo>
                  <a:lnTo>
                    <a:pt x="274852" y="323260"/>
                  </a:lnTo>
                  <a:lnTo>
                    <a:pt x="274852" y="349440"/>
                  </a:lnTo>
                  <a:lnTo>
                    <a:pt x="139649" y="349440"/>
                  </a:lnTo>
                  <a:close/>
                  <a:moveTo>
                    <a:pt x="66294" y="26233"/>
                  </a:moveTo>
                  <a:lnTo>
                    <a:pt x="66294" y="375703"/>
                  </a:lnTo>
                  <a:lnTo>
                    <a:pt x="540286" y="375703"/>
                  </a:lnTo>
                  <a:lnTo>
                    <a:pt x="540286" y="26233"/>
                  </a:lnTo>
                  <a:close/>
                  <a:moveTo>
                    <a:pt x="39925" y="0"/>
                  </a:moveTo>
                  <a:lnTo>
                    <a:pt x="566655" y="0"/>
                  </a:lnTo>
                  <a:lnTo>
                    <a:pt x="566655" y="375703"/>
                  </a:lnTo>
                  <a:lnTo>
                    <a:pt x="606580" y="375703"/>
                  </a:lnTo>
                  <a:lnTo>
                    <a:pt x="606580" y="401936"/>
                  </a:lnTo>
                  <a:lnTo>
                    <a:pt x="373716" y="401936"/>
                  </a:lnTo>
                  <a:lnTo>
                    <a:pt x="413269" y="600587"/>
                  </a:lnTo>
                  <a:lnTo>
                    <a:pt x="387364" y="605592"/>
                  </a:lnTo>
                  <a:lnTo>
                    <a:pt x="346790" y="401936"/>
                  </a:lnTo>
                  <a:lnTo>
                    <a:pt x="316521" y="401936"/>
                  </a:lnTo>
                  <a:lnTo>
                    <a:pt x="316521" y="551828"/>
                  </a:lnTo>
                  <a:lnTo>
                    <a:pt x="290059" y="551828"/>
                  </a:lnTo>
                  <a:lnTo>
                    <a:pt x="290059" y="401936"/>
                  </a:lnTo>
                  <a:lnTo>
                    <a:pt x="247163" y="401936"/>
                  </a:lnTo>
                  <a:lnTo>
                    <a:pt x="206588" y="605592"/>
                  </a:lnTo>
                  <a:lnTo>
                    <a:pt x="180591" y="600494"/>
                  </a:lnTo>
                  <a:lnTo>
                    <a:pt x="220237" y="401936"/>
                  </a:lnTo>
                  <a:lnTo>
                    <a:pt x="0" y="401936"/>
                  </a:lnTo>
                  <a:lnTo>
                    <a:pt x="0" y="375703"/>
                  </a:lnTo>
                  <a:lnTo>
                    <a:pt x="39925" y="375703"/>
                  </a:lnTo>
                  <a:close/>
                </a:path>
              </a:pathLst>
            </a:custGeom>
            <a:solidFill>
              <a:schemeClr val="accent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cxnSp>
          <p:nvCxnSpPr>
            <p:cNvPr id="10" name="直接连接符 9">
              <a:extLst>
                <a:ext uri="{FF2B5EF4-FFF2-40B4-BE49-F238E27FC236}">
                  <a16:creationId xmlns:a16="http://schemas.microsoft.com/office/drawing/2014/main" id="{428F6E50-C5F8-4133-B41E-463030D09E80}"/>
                </a:ext>
              </a:extLst>
            </p:cNvPr>
            <p:cNvCxnSpPr/>
            <p:nvPr/>
          </p:nvCxnSpPr>
          <p:spPr>
            <a:xfrm>
              <a:off x="6928801" y="3405883"/>
              <a:ext cx="0" cy="2597318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77ECE14D-7548-4F05-8122-492B6F5C3044}"/>
                </a:ext>
              </a:extLst>
            </p:cNvPr>
            <p:cNvSpPr/>
            <p:nvPr/>
          </p:nvSpPr>
          <p:spPr bwMode="auto">
            <a:xfrm>
              <a:off x="9378047" y="5134264"/>
              <a:ext cx="936104" cy="846627"/>
            </a:xfrm>
            <a:custGeom>
              <a:avLst/>
              <a:gdLst>
                <a:gd name="connsiteX0" fmla="*/ 273426 w 607614"/>
                <a:gd name="connsiteY0" fmla="*/ 505887 h 546085"/>
                <a:gd name="connsiteX1" fmla="*/ 273426 w 607614"/>
                <a:gd name="connsiteY1" fmla="*/ 525607 h 546085"/>
                <a:gd name="connsiteX2" fmla="*/ 334188 w 607614"/>
                <a:gd name="connsiteY2" fmla="*/ 525607 h 546085"/>
                <a:gd name="connsiteX3" fmla="*/ 334188 w 607614"/>
                <a:gd name="connsiteY3" fmla="*/ 505887 h 546085"/>
                <a:gd name="connsiteX4" fmla="*/ 20507 w 607614"/>
                <a:gd name="connsiteY4" fmla="*/ 373917 h 546085"/>
                <a:gd name="connsiteX5" fmla="*/ 20507 w 607614"/>
                <a:gd name="connsiteY5" fmla="*/ 414873 h 546085"/>
                <a:gd name="connsiteX6" fmla="*/ 587107 w 607614"/>
                <a:gd name="connsiteY6" fmla="*/ 414873 h 546085"/>
                <a:gd name="connsiteX7" fmla="*/ 587107 w 607614"/>
                <a:gd name="connsiteY7" fmla="*/ 373917 h 546085"/>
                <a:gd name="connsiteX8" fmla="*/ 385135 w 607614"/>
                <a:gd name="connsiteY8" fmla="*/ 303381 h 546085"/>
                <a:gd name="connsiteX9" fmla="*/ 546816 w 607614"/>
                <a:gd name="connsiteY9" fmla="*/ 303381 h 546085"/>
                <a:gd name="connsiteX10" fmla="*/ 546816 w 607614"/>
                <a:gd name="connsiteY10" fmla="*/ 323850 h 546085"/>
                <a:gd name="connsiteX11" fmla="*/ 385135 w 607614"/>
                <a:gd name="connsiteY11" fmla="*/ 323850 h 546085"/>
                <a:gd name="connsiteX12" fmla="*/ 101005 w 607614"/>
                <a:gd name="connsiteY12" fmla="*/ 263173 h 546085"/>
                <a:gd name="connsiteX13" fmla="*/ 121474 w 607614"/>
                <a:gd name="connsiteY13" fmla="*/ 263173 h 546085"/>
                <a:gd name="connsiteX14" fmla="*/ 121474 w 607614"/>
                <a:gd name="connsiteY14" fmla="*/ 282911 h 546085"/>
                <a:gd name="connsiteX15" fmla="*/ 101005 w 607614"/>
                <a:gd name="connsiteY15" fmla="*/ 282911 h 546085"/>
                <a:gd name="connsiteX16" fmla="*/ 385135 w 607614"/>
                <a:gd name="connsiteY16" fmla="*/ 252573 h 546085"/>
                <a:gd name="connsiteX17" fmla="*/ 546816 w 607614"/>
                <a:gd name="connsiteY17" fmla="*/ 252573 h 546085"/>
                <a:gd name="connsiteX18" fmla="*/ 546816 w 607614"/>
                <a:gd name="connsiteY18" fmla="*/ 273042 h 546085"/>
                <a:gd name="connsiteX19" fmla="*/ 385135 w 607614"/>
                <a:gd name="connsiteY19" fmla="*/ 273042 h 546085"/>
                <a:gd name="connsiteX20" fmla="*/ 101005 w 607614"/>
                <a:gd name="connsiteY20" fmla="*/ 222235 h 546085"/>
                <a:gd name="connsiteX21" fmla="*/ 121474 w 607614"/>
                <a:gd name="connsiteY21" fmla="*/ 222235 h 546085"/>
                <a:gd name="connsiteX22" fmla="*/ 121474 w 607614"/>
                <a:gd name="connsiteY22" fmla="*/ 242704 h 546085"/>
                <a:gd name="connsiteX23" fmla="*/ 101005 w 607614"/>
                <a:gd name="connsiteY23" fmla="*/ 242704 h 546085"/>
                <a:gd name="connsiteX24" fmla="*/ 385135 w 607614"/>
                <a:gd name="connsiteY24" fmla="*/ 202497 h 546085"/>
                <a:gd name="connsiteX25" fmla="*/ 546816 w 607614"/>
                <a:gd name="connsiteY25" fmla="*/ 202497 h 546085"/>
                <a:gd name="connsiteX26" fmla="*/ 546816 w 607614"/>
                <a:gd name="connsiteY26" fmla="*/ 222235 h 546085"/>
                <a:gd name="connsiteX27" fmla="*/ 385135 w 607614"/>
                <a:gd name="connsiteY27" fmla="*/ 222235 h 546085"/>
                <a:gd name="connsiteX28" fmla="*/ 101005 w 607614"/>
                <a:gd name="connsiteY28" fmla="*/ 172159 h 546085"/>
                <a:gd name="connsiteX29" fmla="*/ 121474 w 607614"/>
                <a:gd name="connsiteY29" fmla="*/ 172159 h 546085"/>
                <a:gd name="connsiteX30" fmla="*/ 121474 w 607614"/>
                <a:gd name="connsiteY30" fmla="*/ 191897 h 546085"/>
                <a:gd name="connsiteX31" fmla="*/ 101005 w 607614"/>
                <a:gd name="connsiteY31" fmla="*/ 191897 h 546085"/>
                <a:gd name="connsiteX32" fmla="*/ 161806 w 607614"/>
                <a:gd name="connsiteY32" fmla="*/ 151687 h 546085"/>
                <a:gd name="connsiteX33" fmla="*/ 161806 w 607614"/>
                <a:gd name="connsiteY33" fmla="*/ 303372 h 546085"/>
                <a:gd name="connsiteX34" fmla="*/ 324329 w 607614"/>
                <a:gd name="connsiteY34" fmla="*/ 303372 h 546085"/>
                <a:gd name="connsiteX35" fmla="*/ 324329 w 607614"/>
                <a:gd name="connsiteY35" fmla="*/ 151687 h 546085"/>
                <a:gd name="connsiteX36" fmla="*/ 81303 w 607614"/>
                <a:gd name="connsiteY36" fmla="*/ 151687 h 546085"/>
                <a:gd name="connsiteX37" fmla="*/ 81303 w 607614"/>
                <a:gd name="connsiteY37" fmla="*/ 303372 h 546085"/>
                <a:gd name="connsiteX38" fmla="*/ 142060 w 607614"/>
                <a:gd name="connsiteY38" fmla="*/ 303372 h 546085"/>
                <a:gd name="connsiteX39" fmla="*/ 142060 w 607614"/>
                <a:gd name="connsiteY39" fmla="*/ 151687 h 546085"/>
                <a:gd name="connsiteX40" fmla="*/ 161806 w 607614"/>
                <a:gd name="connsiteY40" fmla="*/ 81154 h 546085"/>
                <a:gd name="connsiteX41" fmla="*/ 161806 w 607614"/>
                <a:gd name="connsiteY41" fmla="*/ 131210 h 546085"/>
                <a:gd name="connsiteX42" fmla="*/ 324329 w 607614"/>
                <a:gd name="connsiteY42" fmla="*/ 131210 h 546085"/>
                <a:gd name="connsiteX43" fmla="*/ 324329 w 607614"/>
                <a:gd name="connsiteY43" fmla="*/ 81154 h 546085"/>
                <a:gd name="connsiteX44" fmla="*/ 81303 w 607614"/>
                <a:gd name="connsiteY44" fmla="*/ 81154 h 546085"/>
                <a:gd name="connsiteX45" fmla="*/ 81303 w 607614"/>
                <a:gd name="connsiteY45" fmla="*/ 131210 h 546085"/>
                <a:gd name="connsiteX46" fmla="*/ 142060 w 607614"/>
                <a:gd name="connsiteY46" fmla="*/ 131210 h 546085"/>
                <a:gd name="connsiteX47" fmla="*/ 142060 w 607614"/>
                <a:gd name="connsiteY47" fmla="*/ 81154 h 546085"/>
                <a:gd name="connsiteX48" fmla="*/ 404871 w 607614"/>
                <a:gd name="connsiteY48" fmla="*/ 81153 h 546085"/>
                <a:gd name="connsiteX49" fmla="*/ 404871 w 607614"/>
                <a:gd name="connsiteY49" fmla="*/ 151683 h 546085"/>
                <a:gd name="connsiteX50" fmla="*/ 526321 w 607614"/>
                <a:gd name="connsiteY50" fmla="*/ 151683 h 546085"/>
                <a:gd name="connsiteX51" fmla="*/ 526321 w 607614"/>
                <a:gd name="connsiteY51" fmla="*/ 81153 h 546085"/>
                <a:gd name="connsiteX52" fmla="*/ 395003 w 607614"/>
                <a:gd name="connsiteY52" fmla="*/ 60676 h 546085"/>
                <a:gd name="connsiteX53" fmla="*/ 536948 w 607614"/>
                <a:gd name="connsiteY53" fmla="*/ 60676 h 546085"/>
                <a:gd name="connsiteX54" fmla="*/ 546816 w 607614"/>
                <a:gd name="connsiteY54" fmla="*/ 70535 h 546085"/>
                <a:gd name="connsiteX55" fmla="*/ 546816 w 607614"/>
                <a:gd name="connsiteY55" fmla="*/ 161542 h 546085"/>
                <a:gd name="connsiteX56" fmla="*/ 536948 w 607614"/>
                <a:gd name="connsiteY56" fmla="*/ 172159 h 546085"/>
                <a:gd name="connsiteX57" fmla="*/ 395003 w 607614"/>
                <a:gd name="connsiteY57" fmla="*/ 172159 h 546085"/>
                <a:gd name="connsiteX58" fmla="*/ 385135 w 607614"/>
                <a:gd name="connsiteY58" fmla="*/ 161542 h 546085"/>
                <a:gd name="connsiteX59" fmla="*/ 385135 w 607614"/>
                <a:gd name="connsiteY59" fmla="*/ 70535 h 546085"/>
                <a:gd name="connsiteX60" fmla="*/ 395003 w 607614"/>
                <a:gd name="connsiteY60" fmla="*/ 60676 h 546085"/>
                <a:gd name="connsiteX61" fmla="*/ 70671 w 607614"/>
                <a:gd name="connsiteY61" fmla="*/ 60676 h 546085"/>
                <a:gd name="connsiteX62" fmla="*/ 334202 w 607614"/>
                <a:gd name="connsiteY62" fmla="*/ 60676 h 546085"/>
                <a:gd name="connsiteX63" fmla="*/ 344075 w 607614"/>
                <a:gd name="connsiteY63" fmla="*/ 70536 h 546085"/>
                <a:gd name="connsiteX64" fmla="*/ 344075 w 607614"/>
                <a:gd name="connsiteY64" fmla="*/ 313231 h 546085"/>
                <a:gd name="connsiteX65" fmla="*/ 334202 w 607614"/>
                <a:gd name="connsiteY65" fmla="*/ 323849 h 546085"/>
                <a:gd name="connsiteX66" fmla="*/ 70671 w 607614"/>
                <a:gd name="connsiteY66" fmla="*/ 323849 h 546085"/>
                <a:gd name="connsiteX67" fmla="*/ 60798 w 607614"/>
                <a:gd name="connsiteY67" fmla="*/ 313231 h 546085"/>
                <a:gd name="connsiteX68" fmla="*/ 60798 w 607614"/>
                <a:gd name="connsiteY68" fmla="*/ 70536 h 546085"/>
                <a:gd name="connsiteX69" fmla="*/ 70671 w 607614"/>
                <a:gd name="connsiteY69" fmla="*/ 60676 h 546085"/>
                <a:gd name="connsiteX70" fmla="*/ 20507 w 607614"/>
                <a:gd name="connsiteY70" fmla="*/ 20478 h 546085"/>
                <a:gd name="connsiteX71" fmla="*/ 20507 w 607614"/>
                <a:gd name="connsiteY71" fmla="*/ 354197 h 546085"/>
                <a:gd name="connsiteX72" fmla="*/ 587107 w 607614"/>
                <a:gd name="connsiteY72" fmla="*/ 354197 h 546085"/>
                <a:gd name="connsiteX73" fmla="*/ 587107 w 607614"/>
                <a:gd name="connsiteY73" fmla="*/ 20478 h 546085"/>
                <a:gd name="connsiteX74" fmla="*/ 9874 w 607614"/>
                <a:gd name="connsiteY74" fmla="*/ 0 h 546085"/>
                <a:gd name="connsiteX75" fmla="*/ 597740 w 607614"/>
                <a:gd name="connsiteY75" fmla="*/ 0 h 546085"/>
                <a:gd name="connsiteX76" fmla="*/ 607614 w 607614"/>
                <a:gd name="connsiteY76" fmla="*/ 9860 h 546085"/>
                <a:gd name="connsiteX77" fmla="*/ 607614 w 607614"/>
                <a:gd name="connsiteY77" fmla="*/ 424733 h 546085"/>
                <a:gd name="connsiteX78" fmla="*/ 597740 w 607614"/>
                <a:gd name="connsiteY78" fmla="*/ 434593 h 546085"/>
                <a:gd name="connsiteX79" fmla="*/ 313681 w 607614"/>
                <a:gd name="connsiteY79" fmla="*/ 434593 h 546085"/>
                <a:gd name="connsiteX80" fmla="*/ 313681 w 607614"/>
                <a:gd name="connsiteY80" fmla="*/ 485409 h 546085"/>
                <a:gd name="connsiteX81" fmla="*/ 344061 w 607614"/>
                <a:gd name="connsiteY81" fmla="*/ 485409 h 546085"/>
                <a:gd name="connsiteX82" fmla="*/ 354695 w 607614"/>
                <a:gd name="connsiteY82" fmla="*/ 495269 h 546085"/>
                <a:gd name="connsiteX83" fmla="*/ 354695 w 607614"/>
                <a:gd name="connsiteY83" fmla="*/ 536225 h 546085"/>
                <a:gd name="connsiteX84" fmla="*/ 344061 w 607614"/>
                <a:gd name="connsiteY84" fmla="*/ 546085 h 546085"/>
                <a:gd name="connsiteX85" fmla="*/ 263552 w 607614"/>
                <a:gd name="connsiteY85" fmla="*/ 546085 h 546085"/>
                <a:gd name="connsiteX86" fmla="*/ 252919 w 607614"/>
                <a:gd name="connsiteY86" fmla="*/ 536225 h 546085"/>
                <a:gd name="connsiteX87" fmla="*/ 252919 w 607614"/>
                <a:gd name="connsiteY87" fmla="*/ 495269 h 546085"/>
                <a:gd name="connsiteX88" fmla="*/ 263552 w 607614"/>
                <a:gd name="connsiteY88" fmla="*/ 485409 h 546085"/>
                <a:gd name="connsiteX89" fmla="*/ 293933 w 607614"/>
                <a:gd name="connsiteY89" fmla="*/ 485409 h 546085"/>
                <a:gd name="connsiteX90" fmla="*/ 293933 w 607614"/>
                <a:gd name="connsiteY90" fmla="*/ 434593 h 546085"/>
                <a:gd name="connsiteX91" fmla="*/ 9874 w 607614"/>
                <a:gd name="connsiteY91" fmla="*/ 434593 h 546085"/>
                <a:gd name="connsiteX92" fmla="*/ 0 w 607614"/>
                <a:gd name="connsiteY92" fmla="*/ 424733 h 546085"/>
                <a:gd name="connsiteX93" fmla="*/ 0 w 607614"/>
                <a:gd name="connsiteY93" fmla="*/ 9860 h 546085"/>
                <a:gd name="connsiteX94" fmla="*/ 9874 w 607614"/>
                <a:gd name="connsiteY94" fmla="*/ 0 h 546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</a:cxnLst>
              <a:rect l="l" t="t" r="r" b="b"/>
              <a:pathLst>
                <a:path w="607614" h="546085">
                  <a:moveTo>
                    <a:pt x="273426" y="505887"/>
                  </a:moveTo>
                  <a:lnTo>
                    <a:pt x="273426" y="525607"/>
                  </a:lnTo>
                  <a:lnTo>
                    <a:pt x="334188" y="525607"/>
                  </a:lnTo>
                  <a:lnTo>
                    <a:pt x="334188" y="505887"/>
                  </a:lnTo>
                  <a:close/>
                  <a:moveTo>
                    <a:pt x="20507" y="373917"/>
                  </a:moveTo>
                  <a:lnTo>
                    <a:pt x="20507" y="414873"/>
                  </a:lnTo>
                  <a:lnTo>
                    <a:pt x="587107" y="414873"/>
                  </a:lnTo>
                  <a:lnTo>
                    <a:pt x="587107" y="373917"/>
                  </a:lnTo>
                  <a:close/>
                  <a:moveTo>
                    <a:pt x="385135" y="303381"/>
                  </a:moveTo>
                  <a:lnTo>
                    <a:pt x="546816" y="303381"/>
                  </a:lnTo>
                  <a:lnTo>
                    <a:pt x="546816" y="323850"/>
                  </a:lnTo>
                  <a:lnTo>
                    <a:pt x="385135" y="323850"/>
                  </a:lnTo>
                  <a:close/>
                  <a:moveTo>
                    <a:pt x="101005" y="263173"/>
                  </a:moveTo>
                  <a:lnTo>
                    <a:pt x="121474" y="263173"/>
                  </a:lnTo>
                  <a:lnTo>
                    <a:pt x="121474" y="282911"/>
                  </a:lnTo>
                  <a:lnTo>
                    <a:pt x="101005" y="282911"/>
                  </a:lnTo>
                  <a:close/>
                  <a:moveTo>
                    <a:pt x="385135" y="252573"/>
                  </a:moveTo>
                  <a:lnTo>
                    <a:pt x="546816" y="252573"/>
                  </a:lnTo>
                  <a:lnTo>
                    <a:pt x="546816" y="273042"/>
                  </a:lnTo>
                  <a:lnTo>
                    <a:pt x="385135" y="273042"/>
                  </a:lnTo>
                  <a:close/>
                  <a:moveTo>
                    <a:pt x="101005" y="222235"/>
                  </a:moveTo>
                  <a:lnTo>
                    <a:pt x="121474" y="222235"/>
                  </a:lnTo>
                  <a:lnTo>
                    <a:pt x="121474" y="242704"/>
                  </a:lnTo>
                  <a:lnTo>
                    <a:pt x="101005" y="242704"/>
                  </a:lnTo>
                  <a:close/>
                  <a:moveTo>
                    <a:pt x="385135" y="202497"/>
                  </a:moveTo>
                  <a:lnTo>
                    <a:pt x="546816" y="202497"/>
                  </a:lnTo>
                  <a:lnTo>
                    <a:pt x="546816" y="222235"/>
                  </a:lnTo>
                  <a:lnTo>
                    <a:pt x="385135" y="222235"/>
                  </a:lnTo>
                  <a:close/>
                  <a:moveTo>
                    <a:pt x="101005" y="172159"/>
                  </a:moveTo>
                  <a:lnTo>
                    <a:pt x="121474" y="172159"/>
                  </a:lnTo>
                  <a:lnTo>
                    <a:pt x="121474" y="191897"/>
                  </a:lnTo>
                  <a:lnTo>
                    <a:pt x="101005" y="191897"/>
                  </a:lnTo>
                  <a:close/>
                  <a:moveTo>
                    <a:pt x="161806" y="151687"/>
                  </a:moveTo>
                  <a:lnTo>
                    <a:pt x="161806" y="303372"/>
                  </a:lnTo>
                  <a:lnTo>
                    <a:pt x="324329" y="303372"/>
                  </a:lnTo>
                  <a:lnTo>
                    <a:pt x="324329" y="151687"/>
                  </a:lnTo>
                  <a:close/>
                  <a:moveTo>
                    <a:pt x="81303" y="151687"/>
                  </a:moveTo>
                  <a:lnTo>
                    <a:pt x="81303" y="303372"/>
                  </a:lnTo>
                  <a:lnTo>
                    <a:pt x="142060" y="303372"/>
                  </a:lnTo>
                  <a:lnTo>
                    <a:pt x="142060" y="151687"/>
                  </a:lnTo>
                  <a:close/>
                  <a:moveTo>
                    <a:pt x="161806" y="81154"/>
                  </a:moveTo>
                  <a:lnTo>
                    <a:pt x="161806" y="131210"/>
                  </a:lnTo>
                  <a:lnTo>
                    <a:pt x="324329" y="131210"/>
                  </a:lnTo>
                  <a:lnTo>
                    <a:pt x="324329" y="81154"/>
                  </a:lnTo>
                  <a:close/>
                  <a:moveTo>
                    <a:pt x="81303" y="81154"/>
                  </a:moveTo>
                  <a:lnTo>
                    <a:pt x="81303" y="131210"/>
                  </a:lnTo>
                  <a:lnTo>
                    <a:pt x="142060" y="131210"/>
                  </a:lnTo>
                  <a:lnTo>
                    <a:pt x="142060" y="81154"/>
                  </a:lnTo>
                  <a:close/>
                  <a:moveTo>
                    <a:pt x="404871" y="81153"/>
                  </a:moveTo>
                  <a:lnTo>
                    <a:pt x="404871" y="151683"/>
                  </a:lnTo>
                  <a:lnTo>
                    <a:pt x="526321" y="151683"/>
                  </a:lnTo>
                  <a:lnTo>
                    <a:pt x="526321" y="81153"/>
                  </a:lnTo>
                  <a:close/>
                  <a:moveTo>
                    <a:pt x="395003" y="60676"/>
                  </a:moveTo>
                  <a:lnTo>
                    <a:pt x="536948" y="60676"/>
                  </a:lnTo>
                  <a:cubicBezTo>
                    <a:pt x="543021" y="60676"/>
                    <a:pt x="546816" y="64468"/>
                    <a:pt x="546816" y="70535"/>
                  </a:cubicBezTo>
                  <a:lnTo>
                    <a:pt x="546816" y="161542"/>
                  </a:lnTo>
                  <a:cubicBezTo>
                    <a:pt x="546816" y="167609"/>
                    <a:pt x="543021" y="172159"/>
                    <a:pt x="536948" y="172159"/>
                  </a:cubicBezTo>
                  <a:lnTo>
                    <a:pt x="395003" y="172159"/>
                  </a:lnTo>
                  <a:cubicBezTo>
                    <a:pt x="388930" y="172159"/>
                    <a:pt x="385135" y="167609"/>
                    <a:pt x="385135" y="161542"/>
                  </a:cubicBezTo>
                  <a:lnTo>
                    <a:pt x="385135" y="70535"/>
                  </a:lnTo>
                  <a:cubicBezTo>
                    <a:pt x="385135" y="64468"/>
                    <a:pt x="388930" y="60676"/>
                    <a:pt x="395003" y="60676"/>
                  </a:cubicBezTo>
                  <a:close/>
                  <a:moveTo>
                    <a:pt x="70671" y="60676"/>
                  </a:moveTo>
                  <a:lnTo>
                    <a:pt x="334202" y="60676"/>
                  </a:lnTo>
                  <a:cubicBezTo>
                    <a:pt x="340278" y="60676"/>
                    <a:pt x="344075" y="64468"/>
                    <a:pt x="344075" y="70536"/>
                  </a:cubicBezTo>
                  <a:lnTo>
                    <a:pt x="344075" y="313231"/>
                  </a:lnTo>
                  <a:cubicBezTo>
                    <a:pt x="344075" y="319299"/>
                    <a:pt x="340278" y="323849"/>
                    <a:pt x="334202" y="323849"/>
                  </a:cubicBezTo>
                  <a:lnTo>
                    <a:pt x="70671" y="323849"/>
                  </a:lnTo>
                  <a:cubicBezTo>
                    <a:pt x="64595" y="323849"/>
                    <a:pt x="60798" y="319299"/>
                    <a:pt x="60798" y="313231"/>
                  </a:cubicBezTo>
                  <a:lnTo>
                    <a:pt x="60798" y="70536"/>
                  </a:lnTo>
                  <a:cubicBezTo>
                    <a:pt x="60798" y="64468"/>
                    <a:pt x="64595" y="60676"/>
                    <a:pt x="70671" y="60676"/>
                  </a:cubicBezTo>
                  <a:close/>
                  <a:moveTo>
                    <a:pt x="20507" y="20478"/>
                  </a:moveTo>
                  <a:lnTo>
                    <a:pt x="20507" y="354197"/>
                  </a:lnTo>
                  <a:lnTo>
                    <a:pt x="587107" y="354197"/>
                  </a:lnTo>
                  <a:lnTo>
                    <a:pt x="587107" y="20478"/>
                  </a:lnTo>
                  <a:close/>
                  <a:moveTo>
                    <a:pt x="9874" y="0"/>
                  </a:moveTo>
                  <a:lnTo>
                    <a:pt x="597740" y="0"/>
                  </a:lnTo>
                  <a:cubicBezTo>
                    <a:pt x="603817" y="0"/>
                    <a:pt x="607614" y="3792"/>
                    <a:pt x="607614" y="9860"/>
                  </a:cubicBezTo>
                  <a:lnTo>
                    <a:pt x="607614" y="424733"/>
                  </a:lnTo>
                  <a:cubicBezTo>
                    <a:pt x="607614" y="430801"/>
                    <a:pt x="603817" y="434593"/>
                    <a:pt x="597740" y="434593"/>
                  </a:cubicBezTo>
                  <a:lnTo>
                    <a:pt x="313681" y="434593"/>
                  </a:lnTo>
                  <a:lnTo>
                    <a:pt x="313681" y="485409"/>
                  </a:lnTo>
                  <a:lnTo>
                    <a:pt x="344061" y="485409"/>
                  </a:lnTo>
                  <a:cubicBezTo>
                    <a:pt x="350137" y="485409"/>
                    <a:pt x="354695" y="489201"/>
                    <a:pt x="354695" y="495269"/>
                  </a:cubicBezTo>
                  <a:lnTo>
                    <a:pt x="354695" y="536225"/>
                  </a:lnTo>
                  <a:cubicBezTo>
                    <a:pt x="354695" y="542293"/>
                    <a:pt x="350137" y="546085"/>
                    <a:pt x="344061" y="546085"/>
                  </a:cubicBezTo>
                  <a:lnTo>
                    <a:pt x="263552" y="546085"/>
                  </a:lnTo>
                  <a:cubicBezTo>
                    <a:pt x="257476" y="546085"/>
                    <a:pt x="252919" y="542293"/>
                    <a:pt x="252919" y="536225"/>
                  </a:cubicBezTo>
                  <a:lnTo>
                    <a:pt x="252919" y="495269"/>
                  </a:lnTo>
                  <a:cubicBezTo>
                    <a:pt x="252919" y="489201"/>
                    <a:pt x="257476" y="485409"/>
                    <a:pt x="263552" y="485409"/>
                  </a:cubicBezTo>
                  <a:lnTo>
                    <a:pt x="293933" y="485409"/>
                  </a:lnTo>
                  <a:lnTo>
                    <a:pt x="293933" y="434593"/>
                  </a:lnTo>
                  <a:lnTo>
                    <a:pt x="9874" y="434593"/>
                  </a:lnTo>
                  <a:cubicBezTo>
                    <a:pt x="3798" y="434593"/>
                    <a:pt x="0" y="430801"/>
                    <a:pt x="0" y="424733"/>
                  </a:cubicBezTo>
                  <a:lnTo>
                    <a:pt x="0" y="9860"/>
                  </a:lnTo>
                  <a:cubicBezTo>
                    <a:pt x="0" y="3792"/>
                    <a:pt x="3798" y="0"/>
                    <a:pt x="9874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id="{3B59EBDC-F71A-4FC9-B6B7-C5E9FD71AEF2}"/>
                </a:ext>
              </a:extLst>
            </p:cNvPr>
            <p:cNvCxnSpPr/>
            <p:nvPr/>
          </p:nvCxnSpPr>
          <p:spPr>
            <a:xfrm>
              <a:off x="9272976" y="3405883"/>
              <a:ext cx="0" cy="2597318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48D9846A-64B8-4124-8136-9CCD6596C3A7}"/>
                </a:ext>
              </a:extLst>
            </p:cNvPr>
            <p:cNvSpPr txBox="1"/>
            <p:nvPr/>
          </p:nvSpPr>
          <p:spPr>
            <a:xfrm>
              <a:off x="670718" y="1323203"/>
              <a:ext cx="3923433" cy="1883427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norm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400" dirty="0"/>
                <a:t>Unified fonts make reading more fluent.</a:t>
              </a:r>
            </a:p>
            <a:p>
              <a:pPr>
                <a:lnSpc>
                  <a:spcPct val="150000"/>
                </a:lnSpc>
              </a:pPr>
              <a:r>
                <a:rPr lang="en-US" altLang="zh-CN" b="1" dirty="0"/>
                <a:t>Theme color makes PPT more convenient to change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1400" dirty="0"/>
                <a:t>Adjust the spacing to adapt to Chinese typesetting, use the reference line in PPT.</a:t>
              </a:r>
              <a:endParaRPr lang="en-US" sz="1600" b="1" dirty="0"/>
            </a:p>
          </p:txBody>
        </p: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CC8C5FE2-A961-405A-87BF-D99D01E21DB3}"/>
                </a:ext>
              </a:extLst>
            </p:cNvPr>
            <p:cNvGrpSpPr/>
            <p:nvPr/>
          </p:nvGrpSpPr>
          <p:grpSpPr>
            <a:xfrm>
              <a:off x="4633505" y="3760486"/>
              <a:ext cx="2108063" cy="944997"/>
              <a:chOff x="4416940" y="1357493"/>
              <a:chExt cx="2108063" cy="944997"/>
            </a:xfrm>
          </p:grpSpPr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39340196-E1AA-4B49-976A-BF366BB2B662}"/>
                  </a:ext>
                </a:extLst>
              </p:cNvPr>
              <p:cNvSpPr/>
              <p:nvPr/>
            </p:nvSpPr>
            <p:spPr bwMode="auto">
              <a:xfrm>
                <a:off x="4416940" y="1745091"/>
                <a:ext cx="2108063" cy="5573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4D5C24C6-4DD0-4193-AD42-019C1134797B}"/>
                  </a:ext>
                </a:extLst>
              </p:cNvPr>
              <p:cNvSpPr txBox="1"/>
              <p:nvPr/>
            </p:nvSpPr>
            <p:spPr bwMode="auto">
              <a:xfrm>
                <a:off x="4416940" y="1357493"/>
                <a:ext cx="2108063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en-US" altLang="zh-CN" b="1" dirty="0"/>
                  <a:t>…</a:t>
                </a:r>
                <a:r>
                  <a:rPr lang="zh-CN" altLang="en-US" b="1" dirty="0"/>
                  <a:t>阶段</a:t>
                </a:r>
              </a:p>
            </p:txBody>
          </p: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AFFAD180-085C-46C7-8463-CE2C47C05BA3}"/>
                </a:ext>
              </a:extLst>
            </p:cNvPr>
            <p:cNvGrpSpPr/>
            <p:nvPr/>
          </p:nvGrpSpPr>
          <p:grpSpPr>
            <a:xfrm>
              <a:off x="6966118" y="3760486"/>
              <a:ext cx="2108063" cy="944997"/>
              <a:chOff x="4416940" y="1357493"/>
              <a:chExt cx="2108063" cy="944997"/>
            </a:xfrm>
          </p:grpSpPr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39340196-E1AA-4B49-976A-BF366BB2B662}"/>
                  </a:ext>
                </a:extLst>
              </p:cNvPr>
              <p:cNvSpPr/>
              <p:nvPr/>
            </p:nvSpPr>
            <p:spPr bwMode="auto">
              <a:xfrm>
                <a:off x="4416940" y="1745091"/>
                <a:ext cx="2108063" cy="5573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4D5C24C6-4DD0-4193-AD42-019C1134797B}"/>
                  </a:ext>
                </a:extLst>
              </p:cNvPr>
              <p:cNvSpPr txBox="1"/>
              <p:nvPr/>
            </p:nvSpPr>
            <p:spPr bwMode="auto">
              <a:xfrm>
                <a:off x="4416940" y="1357493"/>
                <a:ext cx="2108063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en-US" altLang="zh-CN" b="1" dirty="0"/>
                  <a:t>…</a:t>
                </a:r>
                <a:r>
                  <a:rPr lang="zh-CN" altLang="en-US" b="1" dirty="0"/>
                  <a:t>阶段</a:t>
                </a:r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FB769747-E457-49AB-B826-862AFCB64672}"/>
                </a:ext>
              </a:extLst>
            </p:cNvPr>
            <p:cNvGrpSpPr/>
            <p:nvPr/>
          </p:nvGrpSpPr>
          <p:grpSpPr>
            <a:xfrm>
              <a:off x="9298731" y="3760486"/>
              <a:ext cx="2108063" cy="944997"/>
              <a:chOff x="4416940" y="1357493"/>
              <a:chExt cx="2108063" cy="944997"/>
            </a:xfrm>
          </p:grpSpPr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39340196-E1AA-4B49-976A-BF366BB2B662}"/>
                  </a:ext>
                </a:extLst>
              </p:cNvPr>
              <p:cNvSpPr/>
              <p:nvPr/>
            </p:nvSpPr>
            <p:spPr bwMode="auto">
              <a:xfrm>
                <a:off x="4416940" y="1745091"/>
                <a:ext cx="2108063" cy="5573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4D5C24C6-4DD0-4193-AD42-019C1134797B}"/>
                  </a:ext>
                </a:extLst>
              </p:cNvPr>
              <p:cNvSpPr txBox="1"/>
              <p:nvPr/>
            </p:nvSpPr>
            <p:spPr bwMode="auto">
              <a:xfrm>
                <a:off x="4416940" y="1357493"/>
                <a:ext cx="2108063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en-US" altLang="zh-CN" b="1" dirty="0"/>
                  <a:t>…</a:t>
                </a:r>
                <a:r>
                  <a:rPr lang="zh-CN" altLang="en-US" b="1" dirty="0"/>
                  <a:t>阶段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61384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6C1E9F1-20C6-4CAA-A029-727B18E2F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执行阶段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F58BB61-AAB9-4275-B6F1-515C80BDF4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36891C0-8B86-48B0-B79E-5B24581FD0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077B6F9-44CF-4AE7-A291-60A313AF1DC6}"/>
              </a:ext>
            </a:extLst>
          </p:cNvPr>
          <p:cNvGrpSpPr>
            <a:grpSpLocks noChangeAspect="1"/>
          </p:cNvGrpSpPr>
          <p:nvPr/>
        </p:nvGrpSpPr>
        <p:grpSpPr>
          <a:xfrm>
            <a:off x="826539" y="1635683"/>
            <a:ext cx="10692361" cy="4093569"/>
            <a:chOff x="826539" y="1635683"/>
            <a:chExt cx="10692361" cy="4093569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D9BF6A95-5E9D-43E7-AD35-46047F9BF6E6}"/>
                </a:ext>
              </a:extLst>
            </p:cNvPr>
            <p:cNvSpPr/>
            <p:nvPr/>
          </p:nvSpPr>
          <p:spPr>
            <a:xfrm>
              <a:off x="826539" y="3099847"/>
              <a:ext cx="4600984" cy="1165242"/>
            </a:xfrm>
            <a:prstGeom prst="rect">
              <a:avLst/>
            </a:prstGeom>
            <a:noFill/>
            <a:ln w="9525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Unified fonts make reading more fluent.</a:t>
              </a:r>
            </a:p>
            <a:p>
              <a:pPr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Theme color makes PPT more convenient to change.</a:t>
              </a:r>
            </a:p>
            <a:p>
              <a:pPr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/>
                <a:t>Adjust the spacing to adapt to Chinese typesetting, use the reference line in PPT.</a:t>
              </a:r>
            </a:p>
          </p:txBody>
        </p: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889BFF29-647A-4EF2-9BCB-A9B45A1C11B7}"/>
                </a:ext>
              </a:extLst>
            </p:cNvPr>
            <p:cNvSpPr txBox="1"/>
            <p:nvPr/>
          </p:nvSpPr>
          <p:spPr bwMode="auto">
            <a:xfrm>
              <a:off x="826539" y="2658042"/>
              <a:ext cx="4600984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sz="2000" b="1" dirty="0"/>
                <a:t>…</a:t>
              </a:r>
              <a:r>
                <a:rPr lang="zh-CN" altLang="en-US" sz="2000" b="1" dirty="0"/>
                <a:t>执行情况</a:t>
              </a:r>
              <a:endParaRPr lang="en-US" altLang="zh-CN" sz="2000" b="1" dirty="0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26FB24ED-68A4-4D70-AF57-1D45F081397A}"/>
                </a:ext>
              </a:extLst>
            </p:cNvPr>
            <p:cNvSpPr/>
            <p:nvPr/>
          </p:nvSpPr>
          <p:spPr>
            <a:xfrm>
              <a:off x="5591199" y="1635683"/>
              <a:ext cx="4218193" cy="16587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43" h="21386" extrusionOk="0">
                  <a:moveTo>
                    <a:pt x="4151" y="30"/>
                  </a:moveTo>
                  <a:cubicBezTo>
                    <a:pt x="3034" y="-26"/>
                    <a:pt x="1958" y="1128"/>
                    <a:pt x="1185" y="3213"/>
                  </a:cubicBezTo>
                  <a:cubicBezTo>
                    <a:pt x="-417" y="7532"/>
                    <a:pt x="-400" y="14374"/>
                    <a:pt x="1266" y="18470"/>
                  </a:cubicBezTo>
                  <a:cubicBezTo>
                    <a:pt x="1954" y="20160"/>
                    <a:pt x="2823" y="21094"/>
                    <a:pt x="3717" y="21328"/>
                  </a:cubicBezTo>
                  <a:cubicBezTo>
                    <a:pt x="4656" y="21574"/>
                    <a:pt x="5634" y="21052"/>
                    <a:pt x="6470" y="19636"/>
                  </a:cubicBezTo>
                  <a:cubicBezTo>
                    <a:pt x="6990" y="18756"/>
                    <a:pt x="7412" y="17571"/>
                    <a:pt x="7792" y="16300"/>
                  </a:cubicBezTo>
                  <a:cubicBezTo>
                    <a:pt x="8165" y="15052"/>
                    <a:pt x="8499" y="13715"/>
                    <a:pt x="8966" y="12702"/>
                  </a:cubicBezTo>
                  <a:cubicBezTo>
                    <a:pt x="9147" y="12309"/>
                    <a:pt x="9346" y="11973"/>
                    <a:pt x="9564" y="11748"/>
                  </a:cubicBezTo>
                  <a:cubicBezTo>
                    <a:pt x="9771" y="11535"/>
                    <a:pt x="9993" y="11427"/>
                    <a:pt x="10218" y="11431"/>
                  </a:cubicBezTo>
                  <a:lnTo>
                    <a:pt x="18848" y="11431"/>
                  </a:lnTo>
                  <a:cubicBezTo>
                    <a:pt x="20169" y="11380"/>
                    <a:pt x="21183" y="8383"/>
                    <a:pt x="21027" y="4992"/>
                  </a:cubicBezTo>
                  <a:cubicBezTo>
                    <a:pt x="20895" y="2149"/>
                    <a:pt x="19955" y="20"/>
                    <a:pt x="18848" y="58"/>
                  </a:cubicBezTo>
                  <a:lnTo>
                    <a:pt x="5175" y="0"/>
                  </a:lnTo>
                  <a:lnTo>
                    <a:pt x="4151" y="3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/>
            <a:p>
              <a:pPr algn="ctr">
                <a:defRPr sz="3200" cap="none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B2B85C76-EC12-4DC9-9BEA-32AF37959275}"/>
                </a:ext>
              </a:extLst>
            </p:cNvPr>
            <p:cNvSpPr/>
            <p:nvPr/>
          </p:nvSpPr>
          <p:spPr>
            <a:xfrm rot="10800000">
              <a:off x="7300707" y="1940371"/>
              <a:ext cx="4218193" cy="16587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43" h="21386" extrusionOk="0">
                  <a:moveTo>
                    <a:pt x="4151" y="30"/>
                  </a:moveTo>
                  <a:cubicBezTo>
                    <a:pt x="3034" y="-26"/>
                    <a:pt x="1958" y="1128"/>
                    <a:pt x="1185" y="3213"/>
                  </a:cubicBezTo>
                  <a:cubicBezTo>
                    <a:pt x="-417" y="7532"/>
                    <a:pt x="-400" y="14374"/>
                    <a:pt x="1266" y="18470"/>
                  </a:cubicBezTo>
                  <a:cubicBezTo>
                    <a:pt x="1954" y="20160"/>
                    <a:pt x="2823" y="21094"/>
                    <a:pt x="3717" y="21328"/>
                  </a:cubicBezTo>
                  <a:cubicBezTo>
                    <a:pt x="4656" y="21574"/>
                    <a:pt x="5634" y="21052"/>
                    <a:pt x="6470" y="19636"/>
                  </a:cubicBezTo>
                  <a:cubicBezTo>
                    <a:pt x="6990" y="18756"/>
                    <a:pt x="7412" y="17571"/>
                    <a:pt x="7792" y="16300"/>
                  </a:cubicBezTo>
                  <a:cubicBezTo>
                    <a:pt x="8165" y="15052"/>
                    <a:pt x="8499" y="13715"/>
                    <a:pt x="8966" y="12702"/>
                  </a:cubicBezTo>
                  <a:cubicBezTo>
                    <a:pt x="9147" y="12309"/>
                    <a:pt x="9346" y="11973"/>
                    <a:pt x="9564" y="11748"/>
                  </a:cubicBezTo>
                  <a:cubicBezTo>
                    <a:pt x="9771" y="11535"/>
                    <a:pt x="9993" y="11427"/>
                    <a:pt x="10218" y="11431"/>
                  </a:cubicBezTo>
                  <a:lnTo>
                    <a:pt x="18848" y="11431"/>
                  </a:lnTo>
                  <a:cubicBezTo>
                    <a:pt x="20169" y="11380"/>
                    <a:pt x="21183" y="8383"/>
                    <a:pt x="21027" y="4992"/>
                  </a:cubicBezTo>
                  <a:cubicBezTo>
                    <a:pt x="20895" y="2149"/>
                    <a:pt x="19955" y="20"/>
                    <a:pt x="18848" y="58"/>
                  </a:cubicBezTo>
                  <a:lnTo>
                    <a:pt x="5175" y="0"/>
                  </a:lnTo>
                  <a:lnTo>
                    <a:pt x="4151" y="3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/>
            <a:p>
              <a:pPr algn="ctr">
                <a:defRPr sz="3200" cap="none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38668D5B-A099-4E9E-ADBC-3CE46196950F}"/>
                </a:ext>
              </a:extLst>
            </p:cNvPr>
            <p:cNvSpPr/>
            <p:nvPr/>
          </p:nvSpPr>
          <p:spPr>
            <a:xfrm>
              <a:off x="5591199" y="3765839"/>
              <a:ext cx="4218193" cy="16587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43" h="21386" extrusionOk="0">
                  <a:moveTo>
                    <a:pt x="4151" y="30"/>
                  </a:moveTo>
                  <a:cubicBezTo>
                    <a:pt x="3034" y="-26"/>
                    <a:pt x="1958" y="1128"/>
                    <a:pt x="1185" y="3213"/>
                  </a:cubicBezTo>
                  <a:cubicBezTo>
                    <a:pt x="-417" y="7532"/>
                    <a:pt x="-400" y="14374"/>
                    <a:pt x="1266" y="18470"/>
                  </a:cubicBezTo>
                  <a:cubicBezTo>
                    <a:pt x="1954" y="20160"/>
                    <a:pt x="2823" y="21094"/>
                    <a:pt x="3717" y="21328"/>
                  </a:cubicBezTo>
                  <a:cubicBezTo>
                    <a:pt x="4656" y="21574"/>
                    <a:pt x="5634" y="21052"/>
                    <a:pt x="6470" y="19636"/>
                  </a:cubicBezTo>
                  <a:cubicBezTo>
                    <a:pt x="6990" y="18756"/>
                    <a:pt x="7412" y="17571"/>
                    <a:pt x="7792" y="16300"/>
                  </a:cubicBezTo>
                  <a:cubicBezTo>
                    <a:pt x="8165" y="15052"/>
                    <a:pt x="8499" y="13715"/>
                    <a:pt x="8966" y="12702"/>
                  </a:cubicBezTo>
                  <a:cubicBezTo>
                    <a:pt x="9147" y="12309"/>
                    <a:pt x="9346" y="11973"/>
                    <a:pt x="9564" y="11748"/>
                  </a:cubicBezTo>
                  <a:cubicBezTo>
                    <a:pt x="9771" y="11535"/>
                    <a:pt x="9993" y="11427"/>
                    <a:pt x="10218" y="11431"/>
                  </a:cubicBezTo>
                  <a:lnTo>
                    <a:pt x="18848" y="11431"/>
                  </a:lnTo>
                  <a:cubicBezTo>
                    <a:pt x="20169" y="11380"/>
                    <a:pt x="21183" y="8383"/>
                    <a:pt x="21027" y="4992"/>
                  </a:cubicBezTo>
                  <a:cubicBezTo>
                    <a:pt x="20895" y="2149"/>
                    <a:pt x="19955" y="20"/>
                    <a:pt x="18848" y="58"/>
                  </a:cubicBezTo>
                  <a:lnTo>
                    <a:pt x="5175" y="0"/>
                  </a:lnTo>
                  <a:lnTo>
                    <a:pt x="4151" y="3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/>
            <a:p>
              <a:pPr algn="ctr">
                <a:defRPr sz="3200" cap="none">
                  <a:solidFill>
                    <a:srgbClr val="000000"/>
                  </a:solidFill>
                </a:defRPr>
              </a:pPr>
              <a:endParaRPr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FD239B55-10B6-4C64-87A1-BB2D323FF136}"/>
                </a:ext>
              </a:extLst>
            </p:cNvPr>
            <p:cNvSpPr/>
            <p:nvPr/>
          </p:nvSpPr>
          <p:spPr>
            <a:xfrm rot="10800000">
              <a:off x="7300707" y="4070527"/>
              <a:ext cx="4218193" cy="16587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43" h="21386" extrusionOk="0">
                  <a:moveTo>
                    <a:pt x="4151" y="30"/>
                  </a:moveTo>
                  <a:cubicBezTo>
                    <a:pt x="3034" y="-26"/>
                    <a:pt x="1958" y="1128"/>
                    <a:pt x="1185" y="3213"/>
                  </a:cubicBezTo>
                  <a:cubicBezTo>
                    <a:pt x="-417" y="7532"/>
                    <a:pt x="-400" y="14374"/>
                    <a:pt x="1266" y="18470"/>
                  </a:cubicBezTo>
                  <a:cubicBezTo>
                    <a:pt x="1954" y="20160"/>
                    <a:pt x="2823" y="21094"/>
                    <a:pt x="3717" y="21328"/>
                  </a:cubicBezTo>
                  <a:cubicBezTo>
                    <a:pt x="4656" y="21574"/>
                    <a:pt x="5634" y="21052"/>
                    <a:pt x="6470" y="19636"/>
                  </a:cubicBezTo>
                  <a:cubicBezTo>
                    <a:pt x="6990" y="18756"/>
                    <a:pt x="7412" y="17571"/>
                    <a:pt x="7792" y="16300"/>
                  </a:cubicBezTo>
                  <a:cubicBezTo>
                    <a:pt x="8165" y="15052"/>
                    <a:pt x="8499" y="13715"/>
                    <a:pt x="8966" y="12702"/>
                  </a:cubicBezTo>
                  <a:cubicBezTo>
                    <a:pt x="9147" y="12309"/>
                    <a:pt x="9346" y="11973"/>
                    <a:pt x="9564" y="11748"/>
                  </a:cubicBezTo>
                  <a:cubicBezTo>
                    <a:pt x="9771" y="11535"/>
                    <a:pt x="9993" y="11427"/>
                    <a:pt x="10218" y="11431"/>
                  </a:cubicBezTo>
                  <a:lnTo>
                    <a:pt x="18848" y="11431"/>
                  </a:lnTo>
                  <a:cubicBezTo>
                    <a:pt x="20169" y="11380"/>
                    <a:pt x="21183" y="8383"/>
                    <a:pt x="21027" y="4992"/>
                  </a:cubicBezTo>
                  <a:cubicBezTo>
                    <a:pt x="20895" y="2149"/>
                    <a:pt x="19955" y="20"/>
                    <a:pt x="18848" y="58"/>
                  </a:cubicBezTo>
                  <a:lnTo>
                    <a:pt x="5175" y="0"/>
                  </a:lnTo>
                  <a:lnTo>
                    <a:pt x="4151" y="3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numCol="1" anchor="ctr">
              <a:normAutofit/>
            </a:bodyPr>
            <a:lstStyle/>
            <a:p>
              <a:pPr algn="ctr"/>
              <a:endParaRPr sz="3200">
                <a:solidFill>
                  <a:srgbClr val="000000"/>
                </a:solidFill>
              </a:endParaRP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B6891304-E794-45FC-8BE9-6BCEF5F5121A}"/>
                </a:ext>
              </a:extLst>
            </p:cNvPr>
            <p:cNvSpPr/>
            <p:nvPr/>
          </p:nvSpPr>
          <p:spPr bwMode="auto">
            <a:xfrm>
              <a:off x="7337424" y="1635683"/>
              <a:ext cx="2281468" cy="8669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9D3E2246-2C78-4DFE-8065-0BFA93C38DDA}"/>
                </a:ext>
              </a:extLst>
            </p:cNvPr>
            <p:cNvSpPr/>
            <p:nvPr/>
          </p:nvSpPr>
          <p:spPr bwMode="auto">
            <a:xfrm>
              <a:off x="7337424" y="3765839"/>
              <a:ext cx="2281468" cy="8669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F1E841C4-F50E-4F1E-ACDF-660DC265A826}"/>
                </a:ext>
              </a:extLst>
            </p:cNvPr>
            <p:cNvSpPr/>
            <p:nvPr/>
          </p:nvSpPr>
          <p:spPr bwMode="auto">
            <a:xfrm>
              <a:off x="7491207" y="2732141"/>
              <a:ext cx="2281468" cy="8669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DBD55B48-8C47-4FEE-B4B2-9F5E31E93BDB}"/>
                </a:ext>
              </a:extLst>
            </p:cNvPr>
            <p:cNvSpPr/>
            <p:nvPr/>
          </p:nvSpPr>
          <p:spPr bwMode="auto">
            <a:xfrm>
              <a:off x="7491207" y="4862297"/>
              <a:ext cx="2281468" cy="8669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1DDF9914-0C66-40E1-9EF3-E3F8B9FCC623}"/>
                </a:ext>
              </a:extLst>
            </p:cNvPr>
            <p:cNvSpPr/>
            <p:nvPr/>
          </p:nvSpPr>
          <p:spPr>
            <a:xfrm>
              <a:off x="5703815" y="1755006"/>
              <a:ext cx="1433217" cy="143321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2400" b="1" dirty="0"/>
                <a:t>01</a:t>
              </a:r>
              <a:endParaRPr lang="zh-CN" altLang="en-US" sz="2400" b="1" dirty="0"/>
            </a:p>
          </p:txBody>
        </p:sp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FCF732D3-2B58-4E91-967C-391D9AD5A452}"/>
                </a:ext>
              </a:extLst>
            </p:cNvPr>
            <p:cNvSpPr/>
            <p:nvPr/>
          </p:nvSpPr>
          <p:spPr>
            <a:xfrm>
              <a:off x="9973068" y="2046554"/>
              <a:ext cx="1433217" cy="1433217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2400" b="1" dirty="0"/>
                <a:t>02</a:t>
              </a:r>
              <a:endParaRPr lang="zh-CN" altLang="en-US" sz="2400" b="1" dirty="0"/>
            </a:p>
          </p:txBody>
        </p:sp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89002EE2-D9C0-4FEB-82F5-5191C5D432FE}"/>
                </a:ext>
              </a:extLst>
            </p:cNvPr>
            <p:cNvSpPr/>
            <p:nvPr/>
          </p:nvSpPr>
          <p:spPr>
            <a:xfrm>
              <a:off x="9973068" y="4176711"/>
              <a:ext cx="1433217" cy="1433217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2400" b="1" dirty="0"/>
                <a:t>04</a:t>
              </a:r>
              <a:endParaRPr lang="zh-CN" altLang="en-US" sz="2400" b="1" dirty="0"/>
            </a:p>
          </p:txBody>
        </p:sp>
        <p:sp>
          <p:nvSpPr>
            <p:cNvPr id="19" name="椭圆 18">
              <a:extLst>
                <a:ext uri="{FF2B5EF4-FFF2-40B4-BE49-F238E27FC236}">
                  <a16:creationId xmlns:a16="http://schemas.microsoft.com/office/drawing/2014/main" id="{5AB43001-356F-43D4-BEAF-C071BC451638}"/>
                </a:ext>
              </a:extLst>
            </p:cNvPr>
            <p:cNvSpPr/>
            <p:nvPr/>
          </p:nvSpPr>
          <p:spPr>
            <a:xfrm>
              <a:off x="5703815" y="3885162"/>
              <a:ext cx="1433217" cy="1433217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2400" b="1" dirty="0"/>
                <a:t>01</a:t>
              </a:r>
              <a:endParaRPr lang="zh-CN" altLang="en-US" sz="2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23798072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E48A35D-336F-4360-B795-32CF02C036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成果展示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566E98E-8E28-4668-9E1F-F0CE0F86A6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708F3E0-4552-4593-9FC0-1E2A72A3E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DB8F9AF-728C-47A2-90B6-97B0F5F3176D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1123950"/>
            <a:ext cx="12192000" cy="5019674"/>
            <a:chOff x="0" y="1123950"/>
            <a:chExt cx="12192000" cy="5019674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45530A9E-BCB0-4974-BBD8-1C1327E7A373}"/>
                </a:ext>
              </a:extLst>
            </p:cNvPr>
            <p:cNvSpPr/>
            <p:nvPr/>
          </p:nvSpPr>
          <p:spPr>
            <a:xfrm>
              <a:off x="0" y="1123950"/>
              <a:ext cx="12192000" cy="2903119"/>
            </a:xfrm>
            <a:prstGeom prst="rect">
              <a:avLst/>
            </a:prstGeom>
            <a:blipFill>
              <a:blip r:embed="rId2"/>
              <a:stretch>
                <a:fillRect t="-90381" b="-89594"/>
              </a:stretch>
            </a:blip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 sz="1600" dirty="0"/>
            </a:p>
          </p:txBody>
        </p: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4CFFDC4E-5A9C-4290-91DB-89D92206F730}"/>
                </a:ext>
              </a:extLst>
            </p:cNvPr>
            <p:cNvSpPr/>
            <p:nvPr/>
          </p:nvSpPr>
          <p:spPr>
            <a:xfrm>
              <a:off x="0" y="1123950"/>
              <a:ext cx="12192000" cy="405055"/>
            </a:xfrm>
            <a:prstGeom prst="rect">
              <a:avLst/>
            </a:prstGeom>
            <a:solidFill>
              <a:schemeClr val="tx1">
                <a:alpha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/>
                <a:t>Text here</a:t>
              </a:r>
              <a:endParaRPr lang="zh-CN" altLang="en-US" dirty="0"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A5FF33AF-B779-4C6E-964D-A2DF73EC7EBD}"/>
                </a:ext>
              </a:extLst>
            </p:cNvPr>
            <p:cNvSpPr/>
            <p:nvPr/>
          </p:nvSpPr>
          <p:spPr>
            <a:xfrm flipV="1">
              <a:off x="7253215" y="2550588"/>
              <a:ext cx="2950934" cy="1476481"/>
            </a:xfrm>
            <a:custGeom>
              <a:avLst/>
              <a:gdLst>
                <a:gd name="connsiteX0" fmla="*/ 0 w 3390900"/>
                <a:gd name="connsiteY0" fmla="*/ 0 h 1695450"/>
                <a:gd name="connsiteX1" fmla="*/ 3390900 w 3390900"/>
                <a:gd name="connsiteY1" fmla="*/ 0 h 1695450"/>
                <a:gd name="connsiteX2" fmla="*/ 1695450 w 3390900"/>
                <a:gd name="connsiteY2" fmla="*/ 1695450 h 1695450"/>
                <a:gd name="connsiteX3" fmla="*/ 0 w 3390900"/>
                <a:gd name="connsiteY3" fmla="*/ 0 h 169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0900" h="1695450">
                  <a:moveTo>
                    <a:pt x="0" y="0"/>
                  </a:moveTo>
                  <a:lnTo>
                    <a:pt x="3390900" y="0"/>
                  </a:lnTo>
                  <a:cubicBezTo>
                    <a:pt x="3390900" y="936371"/>
                    <a:pt x="2631821" y="1695450"/>
                    <a:pt x="1695450" y="1695450"/>
                  </a:cubicBezTo>
                  <a:cubicBezTo>
                    <a:pt x="759079" y="1695450"/>
                    <a:pt x="0" y="936371"/>
                    <a:pt x="0" y="0"/>
                  </a:cubicBezTo>
                  <a:close/>
                </a:path>
              </a:pathLst>
            </a:custGeom>
            <a:solidFill>
              <a:schemeClr val="accent4">
                <a:alpha val="8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 sz="1600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84F7E84E-0233-45E3-8477-36931357C65D}"/>
                </a:ext>
              </a:extLst>
            </p:cNvPr>
            <p:cNvSpPr/>
            <p:nvPr/>
          </p:nvSpPr>
          <p:spPr>
            <a:xfrm flipV="1">
              <a:off x="4620533" y="2550588"/>
              <a:ext cx="2950934" cy="1476481"/>
            </a:xfrm>
            <a:custGeom>
              <a:avLst/>
              <a:gdLst>
                <a:gd name="connsiteX0" fmla="*/ 0 w 3390900"/>
                <a:gd name="connsiteY0" fmla="*/ 0 h 1695450"/>
                <a:gd name="connsiteX1" fmla="*/ 3390900 w 3390900"/>
                <a:gd name="connsiteY1" fmla="*/ 0 h 1695450"/>
                <a:gd name="connsiteX2" fmla="*/ 1695450 w 3390900"/>
                <a:gd name="connsiteY2" fmla="*/ 1695450 h 1695450"/>
                <a:gd name="connsiteX3" fmla="*/ 0 w 3390900"/>
                <a:gd name="connsiteY3" fmla="*/ 0 h 169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0900" h="1695450">
                  <a:moveTo>
                    <a:pt x="0" y="0"/>
                  </a:moveTo>
                  <a:lnTo>
                    <a:pt x="3390900" y="0"/>
                  </a:lnTo>
                  <a:cubicBezTo>
                    <a:pt x="3390900" y="936371"/>
                    <a:pt x="2631821" y="1695450"/>
                    <a:pt x="1695450" y="1695450"/>
                  </a:cubicBezTo>
                  <a:cubicBezTo>
                    <a:pt x="759079" y="1695450"/>
                    <a:pt x="0" y="936371"/>
                    <a:pt x="0" y="0"/>
                  </a:cubicBezTo>
                  <a:close/>
                </a:path>
              </a:pathLst>
            </a:custGeom>
            <a:solidFill>
              <a:schemeClr val="accent2">
                <a:alpha val="8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 sz="1600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CB66E72B-342B-47CA-9840-F555B464DC24}"/>
                </a:ext>
              </a:extLst>
            </p:cNvPr>
            <p:cNvSpPr/>
            <p:nvPr/>
          </p:nvSpPr>
          <p:spPr>
            <a:xfrm flipV="1">
              <a:off x="1987852" y="2550588"/>
              <a:ext cx="2950934" cy="1476481"/>
            </a:xfrm>
            <a:custGeom>
              <a:avLst/>
              <a:gdLst>
                <a:gd name="connsiteX0" fmla="*/ 0 w 3390900"/>
                <a:gd name="connsiteY0" fmla="*/ 0 h 1695450"/>
                <a:gd name="connsiteX1" fmla="*/ 3390900 w 3390900"/>
                <a:gd name="connsiteY1" fmla="*/ 0 h 1695450"/>
                <a:gd name="connsiteX2" fmla="*/ 1695450 w 3390900"/>
                <a:gd name="connsiteY2" fmla="*/ 1695450 h 1695450"/>
                <a:gd name="connsiteX3" fmla="*/ 0 w 3390900"/>
                <a:gd name="connsiteY3" fmla="*/ 0 h 1695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90900" h="1695450">
                  <a:moveTo>
                    <a:pt x="0" y="0"/>
                  </a:moveTo>
                  <a:lnTo>
                    <a:pt x="3390900" y="0"/>
                  </a:lnTo>
                  <a:cubicBezTo>
                    <a:pt x="3390900" y="936371"/>
                    <a:pt x="2631821" y="1695450"/>
                    <a:pt x="1695450" y="1695450"/>
                  </a:cubicBezTo>
                  <a:cubicBezTo>
                    <a:pt x="759079" y="1695450"/>
                    <a:pt x="0" y="936371"/>
                    <a:pt x="0" y="0"/>
                  </a:cubicBezTo>
                  <a:close/>
                </a:path>
              </a:pathLst>
            </a:custGeom>
            <a:solidFill>
              <a:schemeClr val="accent1">
                <a:alpha val="85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 sz="1600"/>
            </a:p>
          </p:txBody>
        </p: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23853D01-DB62-40A8-A2C4-89EA86F07614}"/>
                </a:ext>
              </a:extLst>
            </p:cNvPr>
            <p:cNvGrpSpPr/>
            <p:nvPr/>
          </p:nvGrpSpPr>
          <p:grpSpPr>
            <a:xfrm>
              <a:off x="2671526" y="3078174"/>
              <a:ext cx="1583586" cy="948894"/>
              <a:chOff x="1243805" y="2780223"/>
              <a:chExt cx="1583586" cy="948894"/>
            </a:xfrm>
          </p:grpSpPr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084373E2-5943-4D68-9D87-BF32EECAA768}"/>
                  </a:ext>
                </a:extLst>
              </p:cNvPr>
              <p:cNvSpPr/>
              <p:nvPr/>
            </p:nvSpPr>
            <p:spPr bwMode="auto">
              <a:xfrm>
                <a:off x="1765964" y="2780223"/>
                <a:ext cx="539268" cy="455720"/>
              </a:xfrm>
              <a:custGeom>
                <a:avLst/>
                <a:gdLst>
                  <a:gd name="connsiteX0" fmla="*/ 46038 w 338138"/>
                  <a:gd name="connsiteY0" fmla="*/ 261938 h 285751"/>
                  <a:gd name="connsiteX1" fmla="*/ 38100 w 338138"/>
                  <a:gd name="connsiteY1" fmla="*/ 270670 h 285751"/>
                  <a:gd name="connsiteX2" fmla="*/ 46038 w 338138"/>
                  <a:gd name="connsiteY2" fmla="*/ 279402 h 285751"/>
                  <a:gd name="connsiteX3" fmla="*/ 53976 w 338138"/>
                  <a:gd name="connsiteY3" fmla="*/ 270670 h 285751"/>
                  <a:gd name="connsiteX4" fmla="*/ 46038 w 338138"/>
                  <a:gd name="connsiteY4" fmla="*/ 261938 h 285751"/>
                  <a:gd name="connsiteX5" fmla="*/ 288131 w 338138"/>
                  <a:gd name="connsiteY5" fmla="*/ 184150 h 285751"/>
                  <a:gd name="connsiteX6" fmla="*/ 277812 w 338138"/>
                  <a:gd name="connsiteY6" fmla="*/ 194469 h 285751"/>
                  <a:gd name="connsiteX7" fmla="*/ 288131 w 338138"/>
                  <a:gd name="connsiteY7" fmla="*/ 204788 h 285751"/>
                  <a:gd name="connsiteX8" fmla="*/ 298450 w 338138"/>
                  <a:gd name="connsiteY8" fmla="*/ 194469 h 285751"/>
                  <a:gd name="connsiteX9" fmla="*/ 288131 w 338138"/>
                  <a:gd name="connsiteY9" fmla="*/ 184150 h 285751"/>
                  <a:gd name="connsiteX10" fmla="*/ 19050 w 338138"/>
                  <a:gd name="connsiteY10" fmla="*/ 165100 h 285751"/>
                  <a:gd name="connsiteX11" fmla="*/ 19050 w 338138"/>
                  <a:gd name="connsiteY11" fmla="*/ 242888 h 285751"/>
                  <a:gd name="connsiteX12" fmla="*/ 73025 w 338138"/>
                  <a:gd name="connsiteY12" fmla="*/ 242888 h 285751"/>
                  <a:gd name="connsiteX13" fmla="*/ 73025 w 338138"/>
                  <a:gd name="connsiteY13" fmla="*/ 165100 h 285751"/>
                  <a:gd name="connsiteX14" fmla="*/ 12010 w 338138"/>
                  <a:gd name="connsiteY14" fmla="*/ 141288 h 285751"/>
                  <a:gd name="connsiteX15" fmla="*/ 81400 w 338138"/>
                  <a:gd name="connsiteY15" fmla="*/ 141288 h 285751"/>
                  <a:gd name="connsiteX16" fmla="*/ 92075 w 338138"/>
                  <a:gd name="connsiteY16" fmla="*/ 153107 h 285751"/>
                  <a:gd name="connsiteX17" fmla="*/ 92075 w 338138"/>
                  <a:gd name="connsiteY17" fmla="*/ 273932 h 285751"/>
                  <a:gd name="connsiteX18" fmla="*/ 81400 w 338138"/>
                  <a:gd name="connsiteY18" fmla="*/ 285751 h 285751"/>
                  <a:gd name="connsiteX19" fmla="*/ 12010 w 338138"/>
                  <a:gd name="connsiteY19" fmla="*/ 285751 h 285751"/>
                  <a:gd name="connsiteX20" fmla="*/ 0 w 338138"/>
                  <a:gd name="connsiteY20" fmla="*/ 273932 h 285751"/>
                  <a:gd name="connsiteX21" fmla="*/ 0 w 338138"/>
                  <a:gd name="connsiteY21" fmla="*/ 153107 h 285751"/>
                  <a:gd name="connsiteX22" fmla="*/ 12010 w 338138"/>
                  <a:gd name="connsiteY22" fmla="*/ 141288 h 285751"/>
                  <a:gd name="connsiteX23" fmla="*/ 55002 w 338138"/>
                  <a:gd name="connsiteY23" fmla="*/ 82550 h 285751"/>
                  <a:gd name="connsiteX24" fmla="*/ 175185 w 338138"/>
                  <a:gd name="connsiteY24" fmla="*/ 82550 h 285751"/>
                  <a:gd name="connsiteX25" fmla="*/ 193675 w 338138"/>
                  <a:gd name="connsiteY25" fmla="*/ 99703 h 285751"/>
                  <a:gd name="connsiteX26" fmla="*/ 193675 w 338138"/>
                  <a:gd name="connsiteY26" fmla="*/ 268597 h 285751"/>
                  <a:gd name="connsiteX27" fmla="*/ 175185 w 338138"/>
                  <a:gd name="connsiteY27" fmla="*/ 285750 h 285751"/>
                  <a:gd name="connsiteX28" fmla="*/ 107830 w 338138"/>
                  <a:gd name="connsiteY28" fmla="*/ 285750 h 285751"/>
                  <a:gd name="connsiteX29" fmla="*/ 109151 w 338138"/>
                  <a:gd name="connsiteY29" fmla="*/ 276514 h 285751"/>
                  <a:gd name="connsiteX30" fmla="*/ 109151 w 338138"/>
                  <a:gd name="connsiteY30" fmla="*/ 273875 h 285751"/>
                  <a:gd name="connsiteX31" fmla="*/ 115754 w 338138"/>
                  <a:gd name="connsiteY31" fmla="*/ 275194 h 285751"/>
                  <a:gd name="connsiteX32" fmla="*/ 124999 w 338138"/>
                  <a:gd name="connsiteY32" fmla="*/ 264639 h 285751"/>
                  <a:gd name="connsiteX33" fmla="*/ 115754 w 338138"/>
                  <a:gd name="connsiteY33" fmla="*/ 254083 h 285751"/>
                  <a:gd name="connsiteX34" fmla="*/ 109151 w 338138"/>
                  <a:gd name="connsiteY34" fmla="*/ 256722 h 285751"/>
                  <a:gd name="connsiteX35" fmla="*/ 109151 w 338138"/>
                  <a:gd name="connsiteY35" fmla="*/ 235610 h 285751"/>
                  <a:gd name="connsiteX36" fmla="*/ 168582 w 338138"/>
                  <a:gd name="connsiteY36" fmla="*/ 235610 h 285751"/>
                  <a:gd name="connsiteX37" fmla="*/ 168582 w 338138"/>
                  <a:gd name="connsiteY37" fmla="*/ 110259 h 285751"/>
                  <a:gd name="connsiteX38" fmla="*/ 61606 w 338138"/>
                  <a:gd name="connsiteY38" fmla="*/ 110259 h 285751"/>
                  <a:gd name="connsiteX39" fmla="*/ 61606 w 338138"/>
                  <a:gd name="connsiteY39" fmla="*/ 126093 h 285751"/>
                  <a:gd name="connsiteX40" fmla="*/ 36512 w 338138"/>
                  <a:gd name="connsiteY40" fmla="*/ 126093 h 285751"/>
                  <a:gd name="connsiteX41" fmla="*/ 36512 w 338138"/>
                  <a:gd name="connsiteY41" fmla="*/ 99703 h 285751"/>
                  <a:gd name="connsiteX42" fmla="*/ 55002 w 338138"/>
                  <a:gd name="connsiteY42" fmla="*/ 82550 h 285751"/>
                  <a:gd name="connsiteX43" fmla="*/ 102729 w 338138"/>
                  <a:gd name="connsiteY43" fmla="*/ 0 h 285751"/>
                  <a:gd name="connsiteX44" fmla="*/ 305260 w 338138"/>
                  <a:gd name="connsiteY44" fmla="*/ 0 h 285751"/>
                  <a:gd name="connsiteX45" fmla="*/ 338138 w 338138"/>
                  <a:gd name="connsiteY45" fmla="*/ 34237 h 285751"/>
                  <a:gd name="connsiteX46" fmla="*/ 338138 w 338138"/>
                  <a:gd name="connsiteY46" fmla="*/ 188306 h 285751"/>
                  <a:gd name="connsiteX47" fmla="*/ 305260 w 338138"/>
                  <a:gd name="connsiteY47" fmla="*/ 221226 h 285751"/>
                  <a:gd name="connsiteX48" fmla="*/ 234242 w 338138"/>
                  <a:gd name="connsiteY48" fmla="*/ 221226 h 285751"/>
                  <a:gd name="connsiteX49" fmla="*/ 234242 w 338138"/>
                  <a:gd name="connsiteY49" fmla="*/ 243612 h 285751"/>
                  <a:gd name="connsiteX50" fmla="*/ 265806 w 338138"/>
                  <a:gd name="connsiteY50" fmla="*/ 243612 h 285751"/>
                  <a:gd name="connsiteX51" fmla="*/ 277642 w 338138"/>
                  <a:gd name="connsiteY51" fmla="*/ 256780 h 285751"/>
                  <a:gd name="connsiteX52" fmla="*/ 277642 w 338138"/>
                  <a:gd name="connsiteY52" fmla="*/ 272582 h 285751"/>
                  <a:gd name="connsiteX53" fmla="*/ 265806 w 338138"/>
                  <a:gd name="connsiteY53" fmla="*/ 285750 h 285751"/>
                  <a:gd name="connsiteX54" fmla="*/ 205309 w 338138"/>
                  <a:gd name="connsiteY54" fmla="*/ 285750 h 285751"/>
                  <a:gd name="connsiteX55" fmla="*/ 210570 w 338138"/>
                  <a:gd name="connsiteY55" fmla="*/ 269948 h 285751"/>
                  <a:gd name="connsiteX56" fmla="*/ 210570 w 338138"/>
                  <a:gd name="connsiteY56" fmla="*/ 213325 h 285751"/>
                  <a:gd name="connsiteX57" fmla="*/ 210570 w 338138"/>
                  <a:gd name="connsiteY57" fmla="*/ 172504 h 285751"/>
                  <a:gd name="connsiteX58" fmla="*/ 296054 w 338138"/>
                  <a:gd name="connsiteY58" fmla="*/ 172504 h 285751"/>
                  <a:gd name="connsiteX59" fmla="*/ 309205 w 338138"/>
                  <a:gd name="connsiteY59" fmla="*/ 159335 h 285751"/>
                  <a:gd name="connsiteX60" fmla="*/ 309205 w 338138"/>
                  <a:gd name="connsiteY60" fmla="*/ 39504 h 285751"/>
                  <a:gd name="connsiteX61" fmla="*/ 296054 w 338138"/>
                  <a:gd name="connsiteY61" fmla="*/ 27653 h 285751"/>
                  <a:gd name="connsiteX62" fmla="*/ 110620 w 338138"/>
                  <a:gd name="connsiteY62" fmla="*/ 27653 h 285751"/>
                  <a:gd name="connsiteX63" fmla="*/ 98783 w 338138"/>
                  <a:gd name="connsiteY63" fmla="*/ 39504 h 285751"/>
                  <a:gd name="connsiteX64" fmla="*/ 98783 w 338138"/>
                  <a:gd name="connsiteY64" fmla="*/ 65841 h 285751"/>
                  <a:gd name="connsiteX65" fmla="*/ 69850 w 338138"/>
                  <a:gd name="connsiteY65" fmla="*/ 65841 h 285751"/>
                  <a:gd name="connsiteX66" fmla="*/ 69850 w 338138"/>
                  <a:gd name="connsiteY66" fmla="*/ 34237 h 285751"/>
                  <a:gd name="connsiteX67" fmla="*/ 102729 w 338138"/>
                  <a:gd name="connsiteY67" fmla="*/ 0 h 285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338138" h="285751">
                    <a:moveTo>
                      <a:pt x="46038" y="261938"/>
                    </a:moveTo>
                    <a:cubicBezTo>
                      <a:pt x="41654" y="261938"/>
                      <a:pt x="38100" y="265847"/>
                      <a:pt x="38100" y="270670"/>
                    </a:cubicBezTo>
                    <a:cubicBezTo>
                      <a:pt x="38100" y="275493"/>
                      <a:pt x="41654" y="279402"/>
                      <a:pt x="46038" y="279402"/>
                    </a:cubicBezTo>
                    <a:cubicBezTo>
                      <a:pt x="50422" y="279402"/>
                      <a:pt x="53976" y="275493"/>
                      <a:pt x="53976" y="270670"/>
                    </a:cubicBezTo>
                    <a:cubicBezTo>
                      <a:pt x="53976" y="265847"/>
                      <a:pt x="50422" y="261938"/>
                      <a:pt x="46038" y="261938"/>
                    </a:cubicBezTo>
                    <a:close/>
                    <a:moveTo>
                      <a:pt x="288131" y="184150"/>
                    </a:moveTo>
                    <a:cubicBezTo>
                      <a:pt x="282432" y="184150"/>
                      <a:pt x="277812" y="188770"/>
                      <a:pt x="277812" y="194469"/>
                    </a:cubicBezTo>
                    <a:cubicBezTo>
                      <a:pt x="277812" y="200168"/>
                      <a:pt x="282432" y="204788"/>
                      <a:pt x="288131" y="204788"/>
                    </a:cubicBezTo>
                    <a:cubicBezTo>
                      <a:pt x="293830" y="204788"/>
                      <a:pt x="298450" y="200168"/>
                      <a:pt x="298450" y="194469"/>
                    </a:cubicBezTo>
                    <a:cubicBezTo>
                      <a:pt x="298450" y="188770"/>
                      <a:pt x="293830" y="184150"/>
                      <a:pt x="288131" y="184150"/>
                    </a:cubicBezTo>
                    <a:close/>
                    <a:moveTo>
                      <a:pt x="19050" y="165100"/>
                    </a:moveTo>
                    <a:lnTo>
                      <a:pt x="19050" y="242888"/>
                    </a:lnTo>
                    <a:lnTo>
                      <a:pt x="73025" y="242888"/>
                    </a:lnTo>
                    <a:lnTo>
                      <a:pt x="73025" y="165100"/>
                    </a:lnTo>
                    <a:close/>
                    <a:moveTo>
                      <a:pt x="12010" y="141288"/>
                    </a:moveTo>
                    <a:cubicBezTo>
                      <a:pt x="12010" y="141288"/>
                      <a:pt x="12010" y="141288"/>
                      <a:pt x="81400" y="141288"/>
                    </a:cubicBezTo>
                    <a:cubicBezTo>
                      <a:pt x="86738" y="141288"/>
                      <a:pt x="92075" y="146541"/>
                      <a:pt x="92075" y="153107"/>
                    </a:cubicBezTo>
                    <a:cubicBezTo>
                      <a:pt x="92075" y="153107"/>
                      <a:pt x="92075" y="153107"/>
                      <a:pt x="92075" y="273932"/>
                    </a:cubicBezTo>
                    <a:cubicBezTo>
                      <a:pt x="92075" y="280498"/>
                      <a:pt x="86738" y="285751"/>
                      <a:pt x="81400" y="285751"/>
                    </a:cubicBezTo>
                    <a:cubicBezTo>
                      <a:pt x="81400" y="285751"/>
                      <a:pt x="81400" y="285751"/>
                      <a:pt x="12010" y="285751"/>
                    </a:cubicBezTo>
                    <a:cubicBezTo>
                      <a:pt x="5337" y="285751"/>
                      <a:pt x="0" y="280498"/>
                      <a:pt x="0" y="273932"/>
                    </a:cubicBezTo>
                    <a:cubicBezTo>
                      <a:pt x="0" y="273932"/>
                      <a:pt x="0" y="273932"/>
                      <a:pt x="0" y="153107"/>
                    </a:cubicBezTo>
                    <a:cubicBezTo>
                      <a:pt x="0" y="146541"/>
                      <a:pt x="5337" y="141288"/>
                      <a:pt x="12010" y="141288"/>
                    </a:cubicBezTo>
                    <a:close/>
                    <a:moveTo>
                      <a:pt x="55002" y="82550"/>
                    </a:moveTo>
                    <a:cubicBezTo>
                      <a:pt x="55002" y="82550"/>
                      <a:pt x="55002" y="82550"/>
                      <a:pt x="175185" y="82550"/>
                    </a:cubicBezTo>
                    <a:cubicBezTo>
                      <a:pt x="185751" y="82550"/>
                      <a:pt x="193675" y="90467"/>
                      <a:pt x="193675" y="99703"/>
                    </a:cubicBezTo>
                    <a:cubicBezTo>
                      <a:pt x="193675" y="99703"/>
                      <a:pt x="193675" y="99703"/>
                      <a:pt x="193675" y="268597"/>
                    </a:cubicBezTo>
                    <a:cubicBezTo>
                      <a:pt x="193675" y="277833"/>
                      <a:pt x="185751" y="285750"/>
                      <a:pt x="175185" y="285750"/>
                    </a:cubicBezTo>
                    <a:cubicBezTo>
                      <a:pt x="175185" y="285750"/>
                      <a:pt x="175185" y="285750"/>
                      <a:pt x="107830" y="285750"/>
                    </a:cubicBezTo>
                    <a:cubicBezTo>
                      <a:pt x="109151" y="283111"/>
                      <a:pt x="109151" y="280472"/>
                      <a:pt x="109151" y="276514"/>
                    </a:cubicBezTo>
                    <a:cubicBezTo>
                      <a:pt x="109151" y="276514"/>
                      <a:pt x="109151" y="276514"/>
                      <a:pt x="109151" y="273875"/>
                    </a:cubicBezTo>
                    <a:cubicBezTo>
                      <a:pt x="110471" y="273875"/>
                      <a:pt x="113113" y="275194"/>
                      <a:pt x="115754" y="275194"/>
                    </a:cubicBezTo>
                    <a:cubicBezTo>
                      <a:pt x="121037" y="275194"/>
                      <a:pt x="124999" y="271236"/>
                      <a:pt x="124999" y="264639"/>
                    </a:cubicBezTo>
                    <a:cubicBezTo>
                      <a:pt x="124999" y="259361"/>
                      <a:pt x="121037" y="254083"/>
                      <a:pt x="115754" y="254083"/>
                    </a:cubicBezTo>
                    <a:cubicBezTo>
                      <a:pt x="113113" y="254083"/>
                      <a:pt x="110471" y="255402"/>
                      <a:pt x="109151" y="256722"/>
                    </a:cubicBezTo>
                    <a:cubicBezTo>
                      <a:pt x="109151" y="256722"/>
                      <a:pt x="109151" y="256722"/>
                      <a:pt x="109151" y="235610"/>
                    </a:cubicBezTo>
                    <a:cubicBezTo>
                      <a:pt x="109151" y="235610"/>
                      <a:pt x="109151" y="235610"/>
                      <a:pt x="168582" y="235610"/>
                    </a:cubicBezTo>
                    <a:cubicBezTo>
                      <a:pt x="168582" y="235610"/>
                      <a:pt x="168582" y="235610"/>
                      <a:pt x="168582" y="110259"/>
                    </a:cubicBezTo>
                    <a:cubicBezTo>
                      <a:pt x="168582" y="110259"/>
                      <a:pt x="168582" y="110259"/>
                      <a:pt x="61606" y="110259"/>
                    </a:cubicBezTo>
                    <a:cubicBezTo>
                      <a:pt x="61606" y="110259"/>
                      <a:pt x="61606" y="110259"/>
                      <a:pt x="61606" y="126093"/>
                    </a:cubicBezTo>
                    <a:cubicBezTo>
                      <a:pt x="61606" y="126093"/>
                      <a:pt x="61606" y="126093"/>
                      <a:pt x="36512" y="126093"/>
                    </a:cubicBezTo>
                    <a:cubicBezTo>
                      <a:pt x="36512" y="126093"/>
                      <a:pt x="36512" y="126093"/>
                      <a:pt x="36512" y="99703"/>
                    </a:cubicBezTo>
                    <a:cubicBezTo>
                      <a:pt x="36512" y="90467"/>
                      <a:pt x="45757" y="82550"/>
                      <a:pt x="55002" y="82550"/>
                    </a:cubicBezTo>
                    <a:close/>
                    <a:moveTo>
                      <a:pt x="102729" y="0"/>
                    </a:moveTo>
                    <a:cubicBezTo>
                      <a:pt x="102729" y="0"/>
                      <a:pt x="102729" y="0"/>
                      <a:pt x="305260" y="0"/>
                    </a:cubicBezTo>
                    <a:cubicBezTo>
                      <a:pt x="323672" y="0"/>
                      <a:pt x="338138" y="15802"/>
                      <a:pt x="338138" y="34237"/>
                    </a:cubicBezTo>
                    <a:cubicBezTo>
                      <a:pt x="338138" y="34237"/>
                      <a:pt x="338138" y="34237"/>
                      <a:pt x="338138" y="188306"/>
                    </a:cubicBezTo>
                    <a:cubicBezTo>
                      <a:pt x="338138" y="206741"/>
                      <a:pt x="323672" y="221226"/>
                      <a:pt x="305260" y="221226"/>
                    </a:cubicBezTo>
                    <a:cubicBezTo>
                      <a:pt x="305260" y="221226"/>
                      <a:pt x="305260" y="221226"/>
                      <a:pt x="234242" y="221226"/>
                    </a:cubicBezTo>
                    <a:cubicBezTo>
                      <a:pt x="234242" y="221226"/>
                      <a:pt x="234242" y="221226"/>
                      <a:pt x="234242" y="243612"/>
                    </a:cubicBezTo>
                    <a:cubicBezTo>
                      <a:pt x="234242" y="243612"/>
                      <a:pt x="234242" y="243612"/>
                      <a:pt x="265806" y="243612"/>
                    </a:cubicBezTo>
                    <a:cubicBezTo>
                      <a:pt x="272381" y="243612"/>
                      <a:pt x="277642" y="250196"/>
                      <a:pt x="277642" y="256780"/>
                    </a:cubicBezTo>
                    <a:cubicBezTo>
                      <a:pt x="277642" y="256780"/>
                      <a:pt x="277642" y="256780"/>
                      <a:pt x="277642" y="272582"/>
                    </a:cubicBezTo>
                    <a:cubicBezTo>
                      <a:pt x="277642" y="280483"/>
                      <a:pt x="272381" y="285750"/>
                      <a:pt x="265806" y="285750"/>
                    </a:cubicBezTo>
                    <a:cubicBezTo>
                      <a:pt x="265806" y="285750"/>
                      <a:pt x="265806" y="285750"/>
                      <a:pt x="205309" y="285750"/>
                    </a:cubicBezTo>
                    <a:cubicBezTo>
                      <a:pt x="207940" y="280483"/>
                      <a:pt x="209255" y="275216"/>
                      <a:pt x="210570" y="269948"/>
                    </a:cubicBezTo>
                    <a:cubicBezTo>
                      <a:pt x="210570" y="268632"/>
                      <a:pt x="210570" y="213325"/>
                      <a:pt x="210570" y="213325"/>
                    </a:cubicBezTo>
                    <a:cubicBezTo>
                      <a:pt x="210570" y="213325"/>
                      <a:pt x="210570" y="213325"/>
                      <a:pt x="210570" y="172504"/>
                    </a:cubicBezTo>
                    <a:cubicBezTo>
                      <a:pt x="210570" y="172504"/>
                      <a:pt x="210570" y="172504"/>
                      <a:pt x="296054" y="172504"/>
                    </a:cubicBezTo>
                    <a:cubicBezTo>
                      <a:pt x="303945" y="172504"/>
                      <a:pt x="309205" y="165920"/>
                      <a:pt x="309205" y="159335"/>
                    </a:cubicBezTo>
                    <a:cubicBezTo>
                      <a:pt x="309205" y="159335"/>
                      <a:pt x="309205" y="159335"/>
                      <a:pt x="309205" y="39504"/>
                    </a:cubicBezTo>
                    <a:cubicBezTo>
                      <a:pt x="309205" y="32920"/>
                      <a:pt x="303945" y="27653"/>
                      <a:pt x="296054" y="27653"/>
                    </a:cubicBezTo>
                    <a:cubicBezTo>
                      <a:pt x="296054" y="27653"/>
                      <a:pt x="296054" y="27653"/>
                      <a:pt x="110620" y="27653"/>
                    </a:cubicBezTo>
                    <a:cubicBezTo>
                      <a:pt x="104044" y="27653"/>
                      <a:pt x="98783" y="32920"/>
                      <a:pt x="98783" y="39504"/>
                    </a:cubicBezTo>
                    <a:cubicBezTo>
                      <a:pt x="98783" y="39504"/>
                      <a:pt x="98783" y="39504"/>
                      <a:pt x="98783" y="65841"/>
                    </a:cubicBezTo>
                    <a:cubicBezTo>
                      <a:pt x="98783" y="65841"/>
                      <a:pt x="98783" y="65841"/>
                      <a:pt x="69850" y="65841"/>
                    </a:cubicBezTo>
                    <a:cubicBezTo>
                      <a:pt x="69850" y="65841"/>
                      <a:pt x="69850" y="65841"/>
                      <a:pt x="69850" y="34237"/>
                    </a:cubicBezTo>
                    <a:cubicBezTo>
                      <a:pt x="69850" y="15802"/>
                      <a:pt x="84317" y="0"/>
                      <a:pt x="10272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1600"/>
              </a:p>
            </p:txBody>
          </p:sp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4DAAED86-A509-4F4C-8CA8-D72FEFB281A2}"/>
                  </a:ext>
                </a:extLst>
              </p:cNvPr>
              <p:cNvSpPr/>
              <p:nvPr/>
            </p:nvSpPr>
            <p:spPr>
              <a:xfrm>
                <a:off x="1243805" y="3273396"/>
                <a:ext cx="1583586" cy="455721"/>
              </a:xfrm>
              <a:prstGeom prst="rect">
                <a:avLst/>
              </a:prstGeom>
            </p:spPr>
            <p:txBody>
              <a:bodyPr wrap="square" lIns="91440" tIns="45720" rIns="91440" bIns="45720" anchor="ctr" anchorCtr="1">
                <a:normAutofit/>
              </a:bodyPr>
              <a:lstStyle/>
              <a:p>
                <a:pPr algn="ctr"/>
                <a:r>
                  <a:rPr lang="en-US" altLang="zh-CN" sz="1400" b="1" dirty="0">
                    <a:solidFill>
                      <a:schemeClr val="bg1"/>
                    </a:solidFill>
                  </a:rPr>
                  <a:t>XXX</a:t>
                </a:r>
                <a:endParaRPr lang="id-ID" altLang="zh-CN" sz="14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B1F68731-DA04-497A-82F2-F4CD15C24B24}"/>
                </a:ext>
              </a:extLst>
            </p:cNvPr>
            <p:cNvGrpSpPr/>
            <p:nvPr/>
          </p:nvGrpSpPr>
          <p:grpSpPr>
            <a:xfrm>
              <a:off x="5306054" y="3078174"/>
              <a:ext cx="1583586" cy="948894"/>
              <a:chOff x="1243805" y="2780223"/>
              <a:chExt cx="1583586" cy="948894"/>
            </a:xfrm>
          </p:grpSpPr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8E1312A9-C653-4CBA-8ADC-00E9E98592F8}"/>
                  </a:ext>
                </a:extLst>
              </p:cNvPr>
              <p:cNvSpPr/>
              <p:nvPr/>
            </p:nvSpPr>
            <p:spPr bwMode="auto">
              <a:xfrm>
                <a:off x="1765964" y="2780223"/>
                <a:ext cx="539268" cy="455720"/>
              </a:xfrm>
              <a:custGeom>
                <a:avLst/>
                <a:gdLst>
                  <a:gd name="connsiteX0" fmla="*/ 46038 w 338138"/>
                  <a:gd name="connsiteY0" fmla="*/ 261938 h 285751"/>
                  <a:gd name="connsiteX1" fmla="*/ 38100 w 338138"/>
                  <a:gd name="connsiteY1" fmla="*/ 270670 h 285751"/>
                  <a:gd name="connsiteX2" fmla="*/ 46038 w 338138"/>
                  <a:gd name="connsiteY2" fmla="*/ 279402 h 285751"/>
                  <a:gd name="connsiteX3" fmla="*/ 53976 w 338138"/>
                  <a:gd name="connsiteY3" fmla="*/ 270670 h 285751"/>
                  <a:gd name="connsiteX4" fmla="*/ 46038 w 338138"/>
                  <a:gd name="connsiteY4" fmla="*/ 261938 h 285751"/>
                  <a:gd name="connsiteX5" fmla="*/ 288131 w 338138"/>
                  <a:gd name="connsiteY5" fmla="*/ 184150 h 285751"/>
                  <a:gd name="connsiteX6" fmla="*/ 277812 w 338138"/>
                  <a:gd name="connsiteY6" fmla="*/ 194469 h 285751"/>
                  <a:gd name="connsiteX7" fmla="*/ 288131 w 338138"/>
                  <a:gd name="connsiteY7" fmla="*/ 204788 h 285751"/>
                  <a:gd name="connsiteX8" fmla="*/ 298450 w 338138"/>
                  <a:gd name="connsiteY8" fmla="*/ 194469 h 285751"/>
                  <a:gd name="connsiteX9" fmla="*/ 288131 w 338138"/>
                  <a:gd name="connsiteY9" fmla="*/ 184150 h 285751"/>
                  <a:gd name="connsiteX10" fmla="*/ 19050 w 338138"/>
                  <a:gd name="connsiteY10" fmla="*/ 165100 h 285751"/>
                  <a:gd name="connsiteX11" fmla="*/ 19050 w 338138"/>
                  <a:gd name="connsiteY11" fmla="*/ 242888 h 285751"/>
                  <a:gd name="connsiteX12" fmla="*/ 73025 w 338138"/>
                  <a:gd name="connsiteY12" fmla="*/ 242888 h 285751"/>
                  <a:gd name="connsiteX13" fmla="*/ 73025 w 338138"/>
                  <a:gd name="connsiteY13" fmla="*/ 165100 h 285751"/>
                  <a:gd name="connsiteX14" fmla="*/ 12010 w 338138"/>
                  <a:gd name="connsiteY14" fmla="*/ 141288 h 285751"/>
                  <a:gd name="connsiteX15" fmla="*/ 81400 w 338138"/>
                  <a:gd name="connsiteY15" fmla="*/ 141288 h 285751"/>
                  <a:gd name="connsiteX16" fmla="*/ 92075 w 338138"/>
                  <a:gd name="connsiteY16" fmla="*/ 153107 h 285751"/>
                  <a:gd name="connsiteX17" fmla="*/ 92075 w 338138"/>
                  <a:gd name="connsiteY17" fmla="*/ 273932 h 285751"/>
                  <a:gd name="connsiteX18" fmla="*/ 81400 w 338138"/>
                  <a:gd name="connsiteY18" fmla="*/ 285751 h 285751"/>
                  <a:gd name="connsiteX19" fmla="*/ 12010 w 338138"/>
                  <a:gd name="connsiteY19" fmla="*/ 285751 h 285751"/>
                  <a:gd name="connsiteX20" fmla="*/ 0 w 338138"/>
                  <a:gd name="connsiteY20" fmla="*/ 273932 h 285751"/>
                  <a:gd name="connsiteX21" fmla="*/ 0 w 338138"/>
                  <a:gd name="connsiteY21" fmla="*/ 153107 h 285751"/>
                  <a:gd name="connsiteX22" fmla="*/ 12010 w 338138"/>
                  <a:gd name="connsiteY22" fmla="*/ 141288 h 285751"/>
                  <a:gd name="connsiteX23" fmla="*/ 55002 w 338138"/>
                  <a:gd name="connsiteY23" fmla="*/ 82550 h 285751"/>
                  <a:gd name="connsiteX24" fmla="*/ 175185 w 338138"/>
                  <a:gd name="connsiteY24" fmla="*/ 82550 h 285751"/>
                  <a:gd name="connsiteX25" fmla="*/ 193675 w 338138"/>
                  <a:gd name="connsiteY25" fmla="*/ 99703 h 285751"/>
                  <a:gd name="connsiteX26" fmla="*/ 193675 w 338138"/>
                  <a:gd name="connsiteY26" fmla="*/ 268597 h 285751"/>
                  <a:gd name="connsiteX27" fmla="*/ 175185 w 338138"/>
                  <a:gd name="connsiteY27" fmla="*/ 285750 h 285751"/>
                  <a:gd name="connsiteX28" fmla="*/ 107830 w 338138"/>
                  <a:gd name="connsiteY28" fmla="*/ 285750 h 285751"/>
                  <a:gd name="connsiteX29" fmla="*/ 109151 w 338138"/>
                  <a:gd name="connsiteY29" fmla="*/ 276514 h 285751"/>
                  <a:gd name="connsiteX30" fmla="*/ 109151 w 338138"/>
                  <a:gd name="connsiteY30" fmla="*/ 273875 h 285751"/>
                  <a:gd name="connsiteX31" fmla="*/ 115754 w 338138"/>
                  <a:gd name="connsiteY31" fmla="*/ 275194 h 285751"/>
                  <a:gd name="connsiteX32" fmla="*/ 124999 w 338138"/>
                  <a:gd name="connsiteY32" fmla="*/ 264639 h 285751"/>
                  <a:gd name="connsiteX33" fmla="*/ 115754 w 338138"/>
                  <a:gd name="connsiteY33" fmla="*/ 254083 h 285751"/>
                  <a:gd name="connsiteX34" fmla="*/ 109151 w 338138"/>
                  <a:gd name="connsiteY34" fmla="*/ 256722 h 285751"/>
                  <a:gd name="connsiteX35" fmla="*/ 109151 w 338138"/>
                  <a:gd name="connsiteY35" fmla="*/ 235610 h 285751"/>
                  <a:gd name="connsiteX36" fmla="*/ 168582 w 338138"/>
                  <a:gd name="connsiteY36" fmla="*/ 235610 h 285751"/>
                  <a:gd name="connsiteX37" fmla="*/ 168582 w 338138"/>
                  <a:gd name="connsiteY37" fmla="*/ 110259 h 285751"/>
                  <a:gd name="connsiteX38" fmla="*/ 61606 w 338138"/>
                  <a:gd name="connsiteY38" fmla="*/ 110259 h 285751"/>
                  <a:gd name="connsiteX39" fmla="*/ 61606 w 338138"/>
                  <a:gd name="connsiteY39" fmla="*/ 126093 h 285751"/>
                  <a:gd name="connsiteX40" fmla="*/ 36512 w 338138"/>
                  <a:gd name="connsiteY40" fmla="*/ 126093 h 285751"/>
                  <a:gd name="connsiteX41" fmla="*/ 36512 w 338138"/>
                  <a:gd name="connsiteY41" fmla="*/ 99703 h 285751"/>
                  <a:gd name="connsiteX42" fmla="*/ 55002 w 338138"/>
                  <a:gd name="connsiteY42" fmla="*/ 82550 h 285751"/>
                  <a:gd name="connsiteX43" fmla="*/ 102729 w 338138"/>
                  <a:gd name="connsiteY43" fmla="*/ 0 h 285751"/>
                  <a:gd name="connsiteX44" fmla="*/ 305260 w 338138"/>
                  <a:gd name="connsiteY44" fmla="*/ 0 h 285751"/>
                  <a:gd name="connsiteX45" fmla="*/ 338138 w 338138"/>
                  <a:gd name="connsiteY45" fmla="*/ 34237 h 285751"/>
                  <a:gd name="connsiteX46" fmla="*/ 338138 w 338138"/>
                  <a:gd name="connsiteY46" fmla="*/ 188306 h 285751"/>
                  <a:gd name="connsiteX47" fmla="*/ 305260 w 338138"/>
                  <a:gd name="connsiteY47" fmla="*/ 221226 h 285751"/>
                  <a:gd name="connsiteX48" fmla="*/ 234242 w 338138"/>
                  <a:gd name="connsiteY48" fmla="*/ 221226 h 285751"/>
                  <a:gd name="connsiteX49" fmla="*/ 234242 w 338138"/>
                  <a:gd name="connsiteY49" fmla="*/ 243612 h 285751"/>
                  <a:gd name="connsiteX50" fmla="*/ 265806 w 338138"/>
                  <a:gd name="connsiteY50" fmla="*/ 243612 h 285751"/>
                  <a:gd name="connsiteX51" fmla="*/ 277642 w 338138"/>
                  <a:gd name="connsiteY51" fmla="*/ 256780 h 285751"/>
                  <a:gd name="connsiteX52" fmla="*/ 277642 w 338138"/>
                  <a:gd name="connsiteY52" fmla="*/ 272582 h 285751"/>
                  <a:gd name="connsiteX53" fmla="*/ 265806 w 338138"/>
                  <a:gd name="connsiteY53" fmla="*/ 285750 h 285751"/>
                  <a:gd name="connsiteX54" fmla="*/ 205309 w 338138"/>
                  <a:gd name="connsiteY54" fmla="*/ 285750 h 285751"/>
                  <a:gd name="connsiteX55" fmla="*/ 210570 w 338138"/>
                  <a:gd name="connsiteY55" fmla="*/ 269948 h 285751"/>
                  <a:gd name="connsiteX56" fmla="*/ 210570 w 338138"/>
                  <a:gd name="connsiteY56" fmla="*/ 213325 h 285751"/>
                  <a:gd name="connsiteX57" fmla="*/ 210570 w 338138"/>
                  <a:gd name="connsiteY57" fmla="*/ 172504 h 285751"/>
                  <a:gd name="connsiteX58" fmla="*/ 296054 w 338138"/>
                  <a:gd name="connsiteY58" fmla="*/ 172504 h 285751"/>
                  <a:gd name="connsiteX59" fmla="*/ 309205 w 338138"/>
                  <a:gd name="connsiteY59" fmla="*/ 159335 h 285751"/>
                  <a:gd name="connsiteX60" fmla="*/ 309205 w 338138"/>
                  <a:gd name="connsiteY60" fmla="*/ 39504 h 285751"/>
                  <a:gd name="connsiteX61" fmla="*/ 296054 w 338138"/>
                  <a:gd name="connsiteY61" fmla="*/ 27653 h 285751"/>
                  <a:gd name="connsiteX62" fmla="*/ 110620 w 338138"/>
                  <a:gd name="connsiteY62" fmla="*/ 27653 h 285751"/>
                  <a:gd name="connsiteX63" fmla="*/ 98783 w 338138"/>
                  <a:gd name="connsiteY63" fmla="*/ 39504 h 285751"/>
                  <a:gd name="connsiteX64" fmla="*/ 98783 w 338138"/>
                  <a:gd name="connsiteY64" fmla="*/ 65841 h 285751"/>
                  <a:gd name="connsiteX65" fmla="*/ 69850 w 338138"/>
                  <a:gd name="connsiteY65" fmla="*/ 65841 h 285751"/>
                  <a:gd name="connsiteX66" fmla="*/ 69850 w 338138"/>
                  <a:gd name="connsiteY66" fmla="*/ 34237 h 285751"/>
                  <a:gd name="connsiteX67" fmla="*/ 102729 w 338138"/>
                  <a:gd name="connsiteY67" fmla="*/ 0 h 285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338138" h="285751">
                    <a:moveTo>
                      <a:pt x="46038" y="261938"/>
                    </a:moveTo>
                    <a:cubicBezTo>
                      <a:pt x="41654" y="261938"/>
                      <a:pt x="38100" y="265847"/>
                      <a:pt x="38100" y="270670"/>
                    </a:cubicBezTo>
                    <a:cubicBezTo>
                      <a:pt x="38100" y="275493"/>
                      <a:pt x="41654" y="279402"/>
                      <a:pt x="46038" y="279402"/>
                    </a:cubicBezTo>
                    <a:cubicBezTo>
                      <a:pt x="50422" y="279402"/>
                      <a:pt x="53976" y="275493"/>
                      <a:pt x="53976" y="270670"/>
                    </a:cubicBezTo>
                    <a:cubicBezTo>
                      <a:pt x="53976" y="265847"/>
                      <a:pt x="50422" y="261938"/>
                      <a:pt x="46038" y="261938"/>
                    </a:cubicBezTo>
                    <a:close/>
                    <a:moveTo>
                      <a:pt x="288131" y="184150"/>
                    </a:moveTo>
                    <a:cubicBezTo>
                      <a:pt x="282432" y="184150"/>
                      <a:pt x="277812" y="188770"/>
                      <a:pt x="277812" y="194469"/>
                    </a:cubicBezTo>
                    <a:cubicBezTo>
                      <a:pt x="277812" y="200168"/>
                      <a:pt x="282432" y="204788"/>
                      <a:pt x="288131" y="204788"/>
                    </a:cubicBezTo>
                    <a:cubicBezTo>
                      <a:pt x="293830" y="204788"/>
                      <a:pt x="298450" y="200168"/>
                      <a:pt x="298450" y="194469"/>
                    </a:cubicBezTo>
                    <a:cubicBezTo>
                      <a:pt x="298450" y="188770"/>
                      <a:pt x="293830" y="184150"/>
                      <a:pt x="288131" y="184150"/>
                    </a:cubicBezTo>
                    <a:close/>
                    <a:moveTo>
                      <a:pt x="19050" y="165100"/>
                    </a:moveTo>
                    <a:lnTo>
                      <a:pt x="19050" y="242888"/>
                    </a:lnTo>
                    <a:lnTo>
                      <a:pt x="73025" y="242888"/>
                    </a:lnTo>
                    <a:lnTo>
                      <a:pt x="73025" y="165100"/>
                    </a:lnTo>
                    <a:close/>
                    <a:moveTo>
                      <a:pt x="12010" y="141288"/>
                    </a:moveTo>
                    <a:cubicBezTo>
                      <a:pt x="12010" y="141288"/>
                      <a:pt x="12010" y="141288"/>
                      <a:pt x="81400" y="141288"/>
                    </a:cubicBezTo>
                    <a:cubicBezTo>
                      <a:pt x="86738" y="141288"/>
                      <a:pt x="92075" y="146541"/>
                      <a:pt x="92075" y="153107"/>
                    </a:cubicBezTo>
                    <a:cubicBezTo>
                      <a:pt x="92075" y="153107"/>
                      <a:pt x="92075" y="153107"/>
                      <a:pt x="92075" y="273932"/>
                    </a:cubicBezTo>
                    <a:cubicBezTo>
                      <a:pt x="92075" y="280498"/>
                      <a:pt x="86738" y="285751"/>
                      <a:pt x="81400" y="285751"/>
                    </a:cubicBezTo>
                    <a:cubicBezTo>
                      <a:pt x="81400" y="285751"/>
                      <a:pt x="81400" y="285751"/>
                      <a:pt x="12010" y="285751"/>
                    </a:cubicBezTo>
                    <a:cubicBezTo>
                      <a:pt x="5337" y="285751"/>
                      <a:pt x="0" y="280498"/>
                      <a:pt x="0" y="273932"/>
                    </a:cubicBezTo>
                    <a:cubicBezTo>
                      <a:pt x="0" y="273932"/>
                      <a:pt x="0" y="273932"/>
                      <a:pt x="0" y="153107"/>
                    </a:cubicBezTo>
                    <a:cubicBezTo>
                      <a:pt x="0" y="146541"/>
                      <a:pt x="5337" y="141288"/>
                      <a:pt x="12010" y="141288"/>
                    </a:cubicBezTo>
                    <a:close/>
                    <a:moveTo>
                      <a:pt x="55002" y="82550"/>
                    </a:moveTo>
                    <a:cubicBezTo>
                      <a:pt x="55002" y="82550"/>
                      <a:pt x="55002" y="82550"/>
                      <a:pt x="175185" y="82550"/>
                    </a:cubicBezTo>
                    <a:cubicBezTo>
                      <a:pt x="185751" y="82550"/>
                      <a:pt x="193675" y="90467"/>
                      <a:pt x="193675" y="99703"/>
                    </a:cubicBezTo>
                    <a:cubicBezTo>
                      <a:pt x="193675" y="99703"/>
                      <a:pt x="193675" y="99703"/>
                      <a:pt x="193675" y="268597"/>
                    </a:cubicBezTo>
                    <a:cubicBezTo>
                      <a:pt x="193675" y="277833"/>
                      <a:pt x="185751" y="285750"/>
                      <a:pt x="175185" y="285750"/>
                    </a:cubicBezTo>
                    <a:cubicBezTo>
                      <a:pt x="175185" y="285750"/>
                      <a:pt x="175185" y="285750"/>
                      <a:pt x="107830" y="285750"/>
                    </a:cubicBezTo>
                    <a:cubicBezTo>
                      <a:pt x="109151" y="283111"/>
                      <a:pt x="109151" y="280472"/>
                      <a:pt x="109151" y="276514"/>
                    </a:cubicBezTo>
                    <a:cubicBezTo>
                      <a:pt x="109151" y="276514"/>
                      <a:pt x="109151" y="276514"/>
                      <a:pt x="109151" y="273875"/>
                    </a:cubicBezTo>
                    <a:cubicBezTo>
                      <a:pt x="110471" y="273875"/>
                      <a:pt x="113113" y="275194"/>
                      <a:pt x="115754" y="275194"/>
                    </a:cubicBezTo>
                    <a:cubicBezTo>
                      <a:pt x="121037" y="275194"/>
                      <a:pt x="124999" y="271236"/>
                      <a:pt x="124999" y="264639"/>
                    </a:cubicBezTo>
                    <a:cubicBezTo>
                      <a:pt x="124999" y="259361"/>
                      <a:pt x="121037" y="254083"/>
                      <a:pt x="115754" y="254083"/>
                    </a:cubicBezTo>
                    <a:cubicBezTo>
                      <a:pt x="113113" y="254083"/>
                      <a:pt x="110471" y="255402"/>
                      <a:pt x="109151" y="256722"/>
                    </a:cubicBezTo>
                    <a:cubicBezTo>
                      <a:pt x="109151" y="256722"/>
                      <a:pt x="109151" y="256722"/>
                      <a:pt x="109151" y="235610"/>
                    </a:cubicBezTo>
                    <a:cubicBezTo>
                      <a:pt x="109151" y="235610"/>
                      <a:pt x="109151" y="235610"/>
                      <a:pt x="168582" y="235610"/>
                    </a:cubicBezTo>
                    <a:cubicBezTo>
                      <a:pt x="168582" y="235610"/>
                      <a:pt x="168582" y="235610"/>
                      <a:pt x="168582" y="110259"/>
                    </a:cubicBezTo>
                    <a:cubicBezTo>
                      <a:pt x="168582" y="110259"/>
                      <a:pt x="168582" y="110259"/>
                      <a:pt x="61606" y="110259"/>
                    </a:cubicBezTo>
                    <a:cubicBezTo>
                      <a:pt x="61606" y="110259"/>
                      <a:pt x="61606" y="110259"/>
                      <a:pt x="61606" y="126093"/>
                    </a:cubicBezTo>
                    <a:cubicBezTo>
                      <a:pt x="61606" y="126093"/>
                      <a:pt x="61606" y="126093"/>
                      <a:pt x="36512" y="126093"/>
                    </a:cubicBezTo>
                    <a:cubicBezTo>
                      <a:pt x="36512" y="126093"/>
                      <a:pt x="36512" y="126093"/>
                      <a:pt x="36512" y="99703"/>
                    </a:cubicBezTo>
                    <a:cubicBezTo>
                      <a:pt x="36512" y="90467"/>
                      <a:pt x="45757" y="82550"/>
                      <a:pt x="55002" y="82550"/>
                    </a:cubicBezTo>
                    <a:close/>
                    <a:moveTo>
                      <a:pt x="102729" y="0"/>
                    </a:moveTo>
                    <a:cubicBezTo>
                      <a:pt x="102729" y="0"/>
                      <a:pt x="102729" y="0"/>
                      <a:pt x="305260" y="0"/>
                    </a:cubicBezTo>
                    <a:cubicBezTo>
                      <a:pt x="323672" y="0"/>
                      <a:pt x="338138" y="15802"/>
                      <a:pt x="338138" y="34237"/>
                    </a:cubicBezTo>
                    <a:cubicBezTo>
                      <a:pt x="338138" y="34237"/>
                      <a:pt x="338138" y="34237"/>
                      <a:pt x="338138" y="188306"/>
                    </a:cubicBezTo>
                    <a:cubicBezTo>
                      <a:pt x="338138" y="206741"/>
                      <a:pt x="323672" y="221226"/>
                      <a:pt x="305260" y="221226"/>
                    </a:cubicBezTo>
                    <a:cubicBezTo>
                      <a:pt x="305260" y="221226"/>
                      <a:pt x="305260" y="221226"/>
                      <a:pt x="234242" y="221226"/>
                    </a:cubicBezTo>
                    <a:cubicBezTo>
                      <a:pt x="234242" y="221226"/>
                      <a:pt x="234242" y="221226"/>
                      <a:pt x="234242" y="243612"/>
                    </a:cubicBezTo>
                    <a:cubicBezTo>
                      <a:pt x="234242" y="243612"/>
                      <a:pt x="234242" y="243612"/>
                      <a:pt x="265806" y="243612"/>
                    </a:cubicBezTo>
                    <a:cubicBezTo>
                      <a:pt x="272381" y="243612"/>
                      <a:pt x="277642" y="250196"/>
                      <a:pt x="277642" y="256780"/>
                    </a:cubicBezTo>
                    <a:cubicBezTo>
                      <a:pt x="277642" y="256780"/>
                      <a:pt x="277642" y="256780"/>
                      <a:pt x="277642" y="272582"/>
                    </a:cubicBezTo>
                    <a:cubicBezTo>
                      <a:pt x="277642" y="280483"/>
                      <a:pt x="272381" y="285750"/>
                      <a:pt x="265806" y="285750"/>
                    </a:cubicBezTo>
                    <a:cubicBezTo>
                      <a:pt x="265806" y="285750"/>
                      <a:pt x="265806" y="285750"/>
                      <a:pt x="205309" y="285750"/>
                    </a:cubicBezTo>
                    <a:cubicBezTo>
                      <a:pt x="207940" y="280483"/>
                      <a:pt x="209255" y="275216"/>
                      <a:pt x="210570" y="269948"/>
                    </a:cubicBezTo>
                    <a:cubicBezTo>
                      <a:pt x="210570" y="268632"/>
                      <a:pt x="210570" y="213325"/>
                      <a:pt x="210570" y="213325"/>
                    </a:cubicBezTo>
                    <a:cubicBezTo>
                      <a:pt x="210570" y="213325"/>
                      <a:pt x="210570" y="213325"/>
                      <a:pt x="210570" y="172504"/>
                    </a:cubicBezTo>
                    <a:cubicBezTo>
                      <a:pt x="210570" y="172504"/>
                      <a:pt x="210570" y="172504"/>
                      <a:pt x="296054" y="172504"/>
                    </a:cubicBezTo>
                    <a:cubicBezTo>
                      <a:pt x="303945" y="172504"/>
                      <a:pt x="309205" y="165920"/>
                      <a:pt x="309205" y="159335"/>
                    </a:cubicBezTo>
                    <a:cubicBezTo>
                      <a:pt x="309205" y="159335"/>
                      <a:pt x="309205" y="159335"/>
                      <a:pt x="309205" y="39504"/>
                    </a:cubicBezTo>
                    <a:cubicBezTo>
                      <a:pt x="309205" y="32920"/>
                      <a:pt x="303945" y="27653"/>
                      <a:pt x="296054" y="27653"/>
                    </a:cubicBezTo>
                    <a:cubicBezTo>
                      <a:pt x="296054" y="27653"/>
                      <a:pt x="296054" y="27653"/>
                      <a:pt x="110620" y="27653"/>
                    </a:cubicBezTo>
                    <a:cubicBezTo>
                      <a:pt x="104044" y="27653"/>
                      <a:pt x="98783" y="32920"/>
                      <a:pt x="98783" y="39504"/>
                    </a:cubicBezTo>
                    <a:cubicBezTo>
                      <a:pt x="98783" y="39504"/>
                      <a:pt x="98783" y="39504"/>
                      <a:pt x="98783" y="65841"/>
                    </a:cubicBezTo>
                    <a:cubicBezTo>
                      <a:pt x="98783" y="65841"/>
                      <a:pt x="98783" y="65841"/>
                      <a:pt x="69850" y="65841"/>
                    </a:cubicBezTo>
                    <a:cubicBezTo>
                      <a:pt x="69850" y="65841"/>
                      <a:pt x="69850" y="65841"/>
                      <a:pt x="69850" y="34237"/>
                    </a:cubicBezTo>
                    <a:cubicBezTo>
                      <a:pt x="69850" y="15802"/>
                      <a:pt x="84317" y="0"/>
                      <a:pt x="10272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1600"/>
              </a:p>
            </p:txBody>
          </p:sp>
          <p:sp>
            <p:nvSpPr>
              <p:cNvPr id="22" name="矩形 21">
                <a:extLst>
                  <a:ext uri="{FF2B5EF4-FFF2-40B4-BE49-F238E27FC236}">
                    <a16:creationId xmlns:a16="http://schemas.microsoft.com/office/drawing/2014/main" id="{D03B34C1-AF39-4E36-AA58-67FC896EC9F3}"/>
                  </a:ext>
                </a:extLst>
              </p:cNvPr>
              <p:cNvSpPr/>
              <p:nvPr/>
            </p:nvSpPr>
            <p:spPr>
              <a:xfrm>
                <a:off x="1243805" y="3273396"/>
                <a:ext cx="1583586" cy="455721"/>
              </a:xfrm>
              <a:prstGeom prst="rect">
                <a:avLst/>
              </a:prstGeom>
            </p:spPr>
            <p:txBody>
              <a:bodyPr wrap="square" lIns="91440" tIns="45720" rIns="91440" bIns="45720" anchor="ctr" anchorCtr="1">
                <a:normAutofit/>
              </a:bodyPr>
              <a:lstStyle/>
              <a:p>
                <a:pPr algn="ctr"/>
                <a:r>
                  <a:rPr lang="en-US" altLang="zh-CN" sz="1400" b="1" dirty="0">
                    <a:solidFill>
                      <a:schemeClr val="bg1"/>
                    </a:solidFill>
                  </a:rPr>
                  <a:t>XXX</a:t>
                </a:r>
                <a:endParaRPr lang="id-ID" altLang="zh-CN" sz="14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301B1C25-3315-451B-A322-F03D49AC4562}"/>
                </a:ext>
              </a:extLst>
            </p:cNvPr>
            <p:cNvGrpSpPr/>
            <p:nvPr/>
          </p:nvGrpSpPr>
          <p:grpSpPr>
            <a:xfrm>
              <a:off x="7940582" y="3078174"/>
              <a:ext cx="1583586" cy="948894"/>
              <a:chOff x="1243805" y="2780223"/>
              <a:chExt cx="1583586" cy="948894"/>
            </a:xfrm>
          </p:grpSpPr>
          <p:sp>
            <p:nvSpPr>
              <p:cNvPr id="19" name="任意多边形: 形状 18">
                <a:extLst>
                  <a:ext uri="{FF2B5EF4-FFF2-40B4-BE49-F238E27FC236}">
                    <a16:creationId xmlns:a16="http://schemas.microsoft.com/office/drawing/2014/main" id="{B4D4ADA3-DC04-461B-BB0A-D40D8EF37076}"/>
                  </a:ext>
                </a:extLst>
              </p:cNvPr>
              <p:cNvSpPr/>
              <p:nvPr/>
            </p:nvSpPr>
            <p:spPr bwMode="auto">
              <a:xfrm>
                <a:off x="1765964" y="2780223"/>
                <a:ext cx="539268" cy="455720"/>
              </a:xfrm>
              <a:custGeom>
                <a:avLst/>
                <a:gdLst>
                  <a:gd name="connsiteX0" fmla="*/ 46038 w 338138"/>
                  <a:gd name="connsiteY0" fmla="*/ 261938 h 285751"/>
                  <a:gd name="connsiteX1" fmla="*/ 38100 w 338138"/>
                  <a:gd name="connsiteY1" fmla="*/ 270670 h 285751"/>
                  <a:gd name="connsiteX2" fmla="*/ 46038 w 338138"/>
                  <a:gd name="connsiteY2" fmla="*/ 279402 h 285751"/>
                  <a:gd name="connsiteX3" fmla="*/ 53976 w 338138"/>
                  <a:gd name="connsiteY3" fmla="*/ 270670 h 285751"/>
                  <a:gd name="connsiteX4" fmla="*/ 46038 w 338138"/>
                  <a:gd name="connsiteY4" fmla="*/ 261938 h 285751"/>
                  <a:gd name="connsiteX5" fmla="*/ 288131 w 338138"/>
                  <a:gd name="connsiteY5" fmla="*/ 184150 h 285751"/>
                  <a:gd name="connsiteX6" fmla="*/ 277812 w 338138"/>
                  <a:gd name="connsiteY6" fmla="*/ 194469 h 285751"/>
                  <a:gd name="connsiteX7" fmla="*/ 288131 w 338138"/>
                  <a:gd name="connsiteY7" fmla="*/ 204788 h 285751"/>
                  <a:gd name="connsiteX8" fmla="*/ 298450 w 338138"/>
                  <a:gd name="connsiteY8" fmla="*/ 194469 h 285751"/>
                  <a:gd name="connsiteX9" fmla="*/ 288131 w 338138"/>
                  <a:gd name="connsiteY9" fmla="*/ 184150 h 285751"/>
                  <a:gd name="connsiteX10" fmla="*/ 19050 w 338138"/>
                  <a:gd name="connsiteY10" fmla="*/ 165100 h 285751"/>
                  <a:gd name="connsiteX11" fmla="*/ 19050 w 338138"/>
                  <a:gd name="connsiteY11" fmla="*/ 242888 h 285751"/>
                  <a:gd name="connsiteX12" fmla="*/ 73025 w 338138"/>
                  <a:gd name="connsiteY12" fmla="*/ 242888 h 285751"/>
                  <a:gd name="connsiteX13" fmla="*/ 73025 w 338138"/>
                  <a:gd name="connsiteY13" fmla="*/ 165100 h 285751"/>
                  <a:gd name="connsiteX14" fmla="*/ 12010 w 338138"/>
                  <a:gd name="connsiteY14" fmla="*/ 141288 h 285751"/>
                  <a:gd name="connsiteX15" fmla="*/ 81400 w 338138"/>
                  <a:gd name="connsiteY15" fmla="*/ 141288 h 285751"/>
                  <a:gd name="connsiteX16" fmla="*/ 92075 w 338138"/>
                  <a:gd name="connsiteY16" fmla="*/ 153107 h 285751"/>
                  <a:gd name="connsiteX17" fmla="*/ 92075 w 338138"/>
                  <a:gd name="connsiteY17" fmla="*/ 273932 h 285751"/>
                  <a:gd name="connsiteX18" fmla="*/ 81400 w 338138"/>
                  <a:gd name="connsiteY18" fmla="*/ 285751 h 285751"/>
                  <a:gd name="connsiteX19" fmla="*/ 12010 w 338138"/>
                  <a:gd name="connsiteY19" fmla="*/ 285751 h 285751"/>
                  <a:gd name="connsiteX20" fmla="*/ 0 w 338138"/>
                  <a:gd name="connsiteY20" fmla="*/ 273932 h 285751"/>
                  <a:gd name="connsiteX21" fmla="*/ 0 w 338138"/>
                  <a:gd name="connsiteY21" fmla="*/ 153107 h 285751"/>
                  <a:gd name="connsiteX22" fmla="*/ 12010 w 338138"/>
                  <a:gd name="connsiteY22" fmla="*/ 141288 h 285751"/>
                  <a:gd name="connsiteX23" fmla="*/ 55002 w 338138"/>
                  <a:gd name="connsiteY23" fmla="*/ 82550 h 285751"/>
                  <a:gd name="connsiteX24" fmla="*/ 175185 w 338138"/>
                  <a:gd name="connsiteY24" fmla="*/ 82550 h 285751"/>
                  <a:gd name="connsiteX25" fmla="*/ 193675 w 338138"/>
                  <a:gd name="connsiteY25" fmla="*/ 99703 h 285751"/>
                  <a:gd name="connsiteX26" fmla="*/ 193675 w 338138"/>
                  <a:gd name="connsiteY26" fmla="*/ 268597 h 285751"/>
                  <a:gd name="connsiteX27" fmla="*/ 175185 w 338138"/>
                  <a:gd name="connsiteY27" fmla="*/ 285750 h 285751"/>
                  <a:gd name="connsiteX28" fmla="*/ 107830 w 338138"/>
                  <a:gd name="connsiteY28" fmla="*/ 285750 h 285751"/>
                  <a:gd name="connsiteX29" fmla="*/ 109151 w 338138"/>
                  <a:gd name="connsiteY29" fmla="*/ 276514 h 285751"/>
                  <a:gd name="connsiteX30" fmla="*/ 109151 w 338138"/>
                  <a:gd name="connsiteY30" fmla="*/ 273875 h 285751"/>
                  <a:gd name="connsiteX31" fmla="*/ 115754 w 338138"/>
                  <a:gd name="connsiteY31" fmla="*/ 275194 h 285751"/>
                  <a:gd name="connsiteX32" fmla="*/ 124999 w 338138"/>
                  <a:gd name="connsiteY32" fmla="*/ 264639 h 285751"/>
                  <a:gd name="connsiteX33" fmla="*/ 115754 w 338138"/>
                  <a:gd name="connsiteY33" fmla="*/ 254083 h 285751"/>
                  <a:gd name="connsiteX34" fmla="*/ 109151 w 338138"/>
                  <a:gd name="connsiteY34" fmla="*/ 256722 h 285751"/>
                  <a:gd name="connsiteX35" fmla="*/ 109151 w 338138"/>
                  <a:gd name="connsiteY35" fmla="*/ 235610 h 285751"/>
                  <a:gd name="connsiteX36" fmla="*/ 168582 w 338138"/>
                  <a:gd name="connsiteY36" fmla="*/ 235610 h 285751"/>
                  <a:gd name="connsiteX37" fmla="*/ 168582 w 338138"/>
                  <a:gd name="connsiteY37" fmla="*/ 110259 h 285751"/>
                  <a:gd name="connsiteX38" fmla="*/ 61606 w 338138"/>
                  <a:gd name="connsiteY38" fmla="*/ 110259 h 285751"/>
                  <a:gd name="connsiteX39" fmla="*/ 61606 w 338138"/>
                  <a:gd name="connsiteY39" fmla="*/ 126093 h 285751"/>
                  <a:gd name="connsiteX40" fmla="*/ 36512 w 338138"/>
                  <a:gd name="connsiteY40" fmla="*/ 126093 h 285751"/>
                  <a:gd name="connsiteX41" fmla="*/ 36512 w 338138"/>
                  <a:gd name="connsiteY41" fmla="*/ 99703 h 285751"/>
                  <a:gd name="connsiteX42" fmla="*/ 55002 w 338138"/>
                  <a:gd name="connsiteY42" fmla="*/ 82550 h 285751"/>
                  <a:gd name="connsiteX43" fmla="*/ 102729 w 338138"/>
                  <a:gd name="connsiteY43" fmla="*/ 0 h 285751"/>
                  <a:gd name="connsiteX44" fmla="*/ 305260 w 338138"/>
                  <a:gd name="connsiteY44" fmla="*/ 0 h 285751"/>
                  <a:gd name="connsiteX45" fmla="*/ 338138 w 338138"/>
                  <a:gd name="connsiteY45" fmla="*/ 34237 h 285751"/>
                  <a:gd name="connsiteX46" fmla="*/ 338138 w 338138"/>
                  <a:gd name="connsiteY46" fmla="*/ 188306 h 285751"/>
                  <a:gd name="connsiteX47" fmla="*/ 305260 w 338138"/>
                  <a:gd name="connsiteY47" fmla="*/ 221226 h 285751"/>
                  <a:gd name="connsiteX48" fmla="*/ 234242 w 338138"/>
                  <a:gd name="connsiteY48" fmla="*/ 221226 h 285751"/>
                  <a:gd name="connsiteX49" fmla="*/ 234242 w 338138"/>
                  <a:gd name="connsiteY49" fmla="*/ 243612 h 285751"/>
                  <a:gd name="connsiteX50" fmla="*/ 265806 w 338138"/>
                  <a:gd name="connsiteY50" fmla="*/ 243612 h 285751"/>
                  <a:gd name="connsiteX51" fmla="*/ 277642 w 338138"/>
                  <a:gd name="connsiteY51" fmla="*/ 256780 h 285751"/>
                  <a:gd name="connsiteX52" fmla="*/ 277642 w 338138"/>
                  <a:gd name="connsiteY52" fmla="*/ 272582 h 285751"/>
                  <a:gd name="connsiteX53" fmla="*/ 265806 w 338138"/>
                  <a:gd name="connsiteY53" fmla="*/ 285750 h 285751"/>
                  <a:gd name="connsiteX54" fmla="*/ 205309 w 338138"/>
                  <a:gd name="connsiteY54" fmla="*/ 285750 h 285751"/>
                  <a:gd name="connsiteX55" fmla="*/ 210570 w 338138"/>
                  <a:gd name="connsiteY55" fmla="*/ 269948 h 285751"/>
                  <a:gd name="connsiteX56" fmla="*/ 210570 w 338138"/>
                  <a:gd name="connsiteY56" fmla="*/ 213325 h 285751"/>
                  <a:gd name="connsiteX57" fmla="*/ 210570 w 338138"/>
                  <a:gd name="connsiteY57" fmla="*/ 172504 h 285751"/>
                  <a:gd name="connsiteX58" fmla="*/ 296054 w 338138"/>
                  <a:gd name="connsiteY58" fmla="*/ 172504 h 285751"/>
                  <a:gd name="connsiteX59" fmla="*/ 309205 w 338138"/>
                  <a:gd name="connsiteY59" fmla="*/ 159335 h 285751"/>
                  <a:gd name="connsiteX60" fmla="*/ 309205 w 338138"/>
                  <a:gd name="connsiteY60" fmla="*/ 39504 h 285751"/>
                  <a:gd name="connsiteX61" fmla="*/ 296054 w 338138"/>
                  <a:gd name="connsiteY61" fmla="*/ 27653 h 285751"/>
                  <a:gd name="connsiteX62" fmla="*/ 110620 w 338138"/>
                  <a:gd name="connsiteY62" fmla="*/ 27653 h 285751"/>
                  <a:gd name="connsiteX63" fmla="*/ 98783 w 338138"/>
                  <a:gd name="connsiteY63" fmla="*/ 39504 h 285751"/>
                  <a:gd name="connsiteX64" fmla="*/ 98783 w 338138"/>
                  <a:gd name="connsiteY64" fmla="*/ 65841 h 285751"/>
                  <a:gd name="connsiteX65" fmla="*/ 69850 w 338138"/>
                  <a:gd name="connsiteY65" fmla="*/ 65841 h 285751"/>
                  <a:gd name="connsiteX66" fmla="*/ 69850 w 338138"/>
                  <a:gd name="connsiteY66" fmla="*/ 34237 h 285751"/>
                  <a:gd name="connsiteX67" fmla="*/ 102729 w 338138"/>
                  <a:gd name="connsiteY67" fmla="*/ 0 h 285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338138" h="285751">
                    <a:moveTo>
                      <a:pt x="46038" y="261938"/>
                    </a:moveTo>
                    <a:cubicBezTo>
                      <a:pt x="41654" y="261938"/>
                      <a:pt x="38100" y="265847"/>
                      <a:pt x="38100" y="270670"/>
                    </a:cubicBezTo>
                    <a:cubicBezTo>
                      <a:pt x="38100" y="275493"/>
                      <a:pt x="41654" y="279402"/>
                      <a:pt x="46038" y="279402"/>
                    </a:cubicBezTo>
                    <a:cubicBezTo>
                      <a:pt x="50422" y="279402"/>
                      <a:pt x="53976" y="275493"/>
                      <a:pt x="53976" y="270670"/>
                    </a:cubicBezTo>
                    <a:cubicBezTo>
                      <a:pt x="53976" y="265847"/>
                      <a:pt x="50422" y="261938"/>
                      <a:pt x="46038" y="261938"/>
                    </a:cubicBezTo>
                    <a:close/>
                    <a:moveTo>
                      <a:pt x="288131" y="184150"/>
                    </a:moveTo>
                    <a:cubicBezTo>
                      <a:pt x="282432" y="184150"/>
                      <a:pt x="277812" y="188770"/>
                      <a:pt x="277812" y="194469"/>
                    </a:cubicBezTo>
                    <a:cubicBezTo>
                      <a:pt x="277812" y="200168"/>
                      <a:pt x="282432" y="204788"/>
                      <a:pt x="288131" y="204788"/>
                    </a:cubicBezTo>
                    <a:cubicBezTo>
                      <a:pt x="293830" y="204788"/>
                      <a:pt x="298450" y="200168"/>
                      <a:pt x="298450" y="194469"/>
                    </a:cubicBezTo>
                    <a:cubicBezTo>
                      <a:pt x="298450" y="188770"/>
                      <a:pt x="293830" y="184150"/>
                      <a:pt x="288131" y="184150"/>
                    </a:cubicBezTo>
                    <a:close/>
                    <a:moveTo>
                      <a:pt x="19050" y="165100"/>
                    </a:moveTo>
                    <a:lnTo>
                      <a:pt x="19050" y="242888"/>
                    </a:lnTo>
                    <a:lnTo>
                      <a:pt x="73025" y="242888"/>
                    </a:lnTo>
                    <a:lnTo>
                      <a:pt x="73025" y="165100"/>
                    </a:lnTo>
                    <a:close/>
                    <a:moveTo>
                      <a:pt x="12010" y="141288"/>
                    </a:moveTo>
                    <a:cubicBezTo>
                      <a:pt x="12010" y="141288"/>
                      <a:pt x="12010" y="141288"/>
                      <a:pt x="81400" y="141288"/>
                    </a:cubicBezTo>
                    <a:cubicBezTo>
                      <a:pt x="86738" y="141288"/>
                      <a:pt x="92075" y="146541"/>
                      <a:pt x="92075" y="153107"/>
                    </a:cubicBezTo>
                    <a:cubicBezTo>
                      <a:pt x="92075" y="153107"/>
                      <a:pt x="92075" y="153107"/>
                      <a:pt x="92075" y="273932"/>
                    </a:cubicBezTo>
                    <a:cubicBezTo>
                      <a:pt x="92075" y="280498"/>
                      <a:pt x="86738" y="285751"/>
                      <a:pt x="81400" y="285751"/>
                    </a:cubicBezTo>
                    <a:cubicBezTo>
                      <a:pt x="81400" y="285751"/>
                      <a:pt x="81400" y="285751"/>
                      <a:pt x="12010" y="285751"/>
                    </a:cubicBezTo>
                    <a:cubicBezTo>
                      <a:pt x="5337" y="285751"/>
                      <a:pt x="0" y="280498"/>
                      <a:pt x="0" y="273932"/>
                    </a:cubicBezTo>
                    <a:cubicBezTo>
                      <a:pt x="0" y="273932"/>
                      <a:pt x="0" y="273932"/>
                      <a:pt x="0" y="153107"/>
                    </a:cubicBezTo>
                    <a:cubicBezTo>
                      <a:pt x="0" y="146541"/>
                      <a:pt x="5337" y="141288"/>
                      <a:pt x="12010" y="141288"/>
                    </a:cubicBezTo>
                    <a:close/>
                    <a:moveTo>
                      <a:pt x="55002" y="82550"/>
                    </a:moveTo>
                    <a:cubicBezTo>
                      <a:pt x="55002" y="82550"/>
                      <a:pt x="55002" y="82550"/>
                      <a:pt x="175185" y="82550"/>
                    </a:cubicBezTo>
                    <a:cubicBezTo>
                      <a:pt x="185751" y="82550"/>
                      <a:pt x="193675" y="90467"/>
                      <a:pt x="193675" y="99703"/>
                    </a:cubicBezTo>
                    <a:cubicBezTo>
                      <a:pt x="193675" y="99703"/>
                      <a:pt x="193675" y="99703"/>
                      <a:pt x="193675" y="268597"/>
                    </a:cubicBezTo>
                    <a:cubicBezTo>
                      <a:pt x="193675" y="277833"/>
                      <a:pt x="185751" y="285750"/>
                      <a:pt x="175185" y="285750"/>
                    </a:cubicBezTo>
                    <a:cubicBezTo>
                      <a:pt x="175185" y="285750"/>
                      <a:pt x="175185" y="285750"/>
                      <a:pt x="107830" y="285750"/>
                    </a:cubicBezTo>
                    <a:cubicBezTo>
                      <a:pt x="109151" y="283111"/>
                      <a:pt x="109151" y="280472"/>
                      <a:pt x="109151" y="276514"/>
                    </a:cubicBezTo>
                    <a:cubicBezTo>
                      <a:pt x="109151" y="276514"/>
                      <a:pt x="109151" y="276514"/>
                      <a:pt x="109151" y="273875"/>
                    </a:cubicBezTo>
                    <a:cubicBezTo>
                      <a:pt x="110471" y="273875"/>
                      <a:pt x="113113" y="275194"/>
                      <a:pt x="115754" y="275194"/>
                    </a:cubicBezTo>
                    <a:cubicBezTo>
                      <a:pt x="121037" y="275194"/>
                      <a:pt x="124999" y="271236"/>
                      <a:pt x="124999" y="264639"/>
                    </a:cubicBezTo>
                    <a:cubicBezTo>
                      <a:pt x="124999" y="259361"/>
                      <a:pt x="121037" y="254083"/>
                      <a:pt x="115754" y="254083"/>
                    </a:cubicBezTo>
                    <a:cubicBezTo>
                      <a:pt x="113113" y="254083"/>
                      <a:pt x="110471" y="255402"/>
                      <a:pt x="109151" y="256722"/>
                    </a:cubicBezTo>
                    <a:cubicBezTo>
                      <a:pt x="109151" y="256722"/>
                      <a:pt x="109151" y="256722"/>
                      <a:pt x="109151" y="235610"/>
                    </a:cubicBezTo>
                    <a:cubicBezTo>
                      <a:pt x="109151" y="235610"/>
                      <a:pt x="109151" y="235610"/>
                      <a:pt x="168582" y="235610"/>
                    </a:cubicBezTo>
                    <a:cubicBezTo>
                      <a:pt x="168582" y="235610"/>
                      <a:pt x="168582" y="235610"/>
                      <a:pt x="168582" y="110259"/>
                    </a:cubicBezTo>
                    <a:cubicBezTo>
                      <a:pt x="168582" y="110259"/>
                      <a:pt x="168582" y="110259"/>
                      <a:pt x="61606" y="110259"/>
                    </a:cubicBezTo>
                    <a:cubicBezTo>
                      <a:pt x="61606" y="110259"/>
                      <a:pt x="61606" y="110259"/>
                      <a:pt x="61606" y="126093"/>
                    </a:cubicBezTo>
                    <a:cubicBezTo>
                      <a:pt x="61606" y="126093"/>
                      <a:pt x="61606" y="126093"/>
                      <a:pt x="36512" y="126093"/>
                    </a:cubicBezTo>
                    <a:cubicBezTo>
                      <a:pt x="36512" y="126093"/>
                      <a:pt x="36512" y="126093"/>
                      <a:pt x="36512" y="99703"/>
                    </a:cubicBezTo>
                    <a:cubicBezTo>
                      <a:pt x="36512" y="90467"/>
                      <a:pt x="45757" y="82550"/>
                      <a:pt x="55002" y="82550"/>
                    </a:cubicBezTo>
                    <a:close/>
                    <a:moveTo>
                      <a:pt x="102729" y="0"/>
                    </a:moveTo>
                    <a:cubicBezTo>
                      <a:pt x="102729" y="0"/>
                      <a:pt x="102729" y="0"/>
                      <a:pt x="305260" y="0"/>
                    </a:cubicBezTo>
                    <a:cubicBezTo>
                      <a:pt x="323672" y="0"/>
                      <a:pt x="338138" y="15802"/>
                      <a:pt x="338138" y="34237"/>
                    </a:cubicBezTo>
                    <a:cubicBezTo>
                      <a:pt x="338138" y="34237"/>
                      <a:pt x="338138" y="34237"/>
                      <a:pt x="338138" y="188306"/>
                    </a:cubicBezTo>
                    <a:cubicBezTo>
                      <a:pt x="338138" y="206741"/>
                      <a:pt x="323672" y="221226"/>
                      <a:pt x="305260" y="221226"/>
                    </a:cubicBezTo>
                    <a:cubicBezTo>
                      <a:pt x="305260" y="221226"/>
                      <a:pt x="305260" y="221226"/>
                      <a:pt x="234242" y="221226"/>
                    </a:cubicBezTo>
                    <a:cubicBezTo>
                      <a:pt x="234242" y="221226"/>
                      <a:pt x="234242" y="221226"/>
                      <a:pt x="234242" y="243612"/>
                    </a:cubicBezTo>
                    <a:cubicBezTo>
                      <a:pt x="234242" y="243612"/>
                      <a:pt x="234242" y="243612"/>
                      <a:pt x="265806" y="243612"/>
                    </a:cubicBezTo>
                    <a:cubicBezTo>
                      <a:pt x="272381" y="243612"/>
                      <a:pt x="277642" y="250196"/>
                      <a:pt x="277642" y="256780"/>
                    </a:cubicBezTo>
                    <a:cubicBezTo>
                      <a:pt x="277642" y="256780"/>
                      <a:pt x="277642" y="256780"/>
                      <a:pt x="277642" y="272582"/>
                    </a:cubicBezTo>
                    <a:cubicBezTo>
                      <a:pt x="277642" y="280483"/>
                      <a:pt x="272381" y="285750"/>
                      <a:pt x="265806" y="285750"/>
                    </a:cubicBezTo>
                    <a:cubicBezTo>
                      <a:pt x="265806" y="285750"/>
                      <a:pt x="265806" y="285750"/>
                      <a:pt x="205309" y="285750"/>
                    </a:cubicBezTo>
                    <a:cubicBezTo>
                      <a:pt x="207940" y="280483"/>
                      <a:pt x="209255" y="275216"/>
                      <a:pt x="210570" y="269948"/>
                    </a:cubicBezTo>
                    <a:cubicBezTo>
                      <a:pt x="210570" y="268632"/>
                      <a:pt x="210570" y="213325"/>
                      <a:pt x="210570" y="213325"/>
                    </a:cubicBezTo>
                    <a:cubicBezTo>
                      <a:pt x="210570" y="213325"/>
                      <a:pt x="210570" y="213325"/>
                      <a:pt x="210570" y="172504"/>
                    </a:cubicBezTo>
                    <a:cubicBezTo>
                      <a:pt x="210570" y="172504"/>
                      <a:pt x="210570" y="172504"/>
                      <a:pt x="296054" y="172504"/>
                    </a:cubicBezTo>
                    <a:cubicBezTo>
                      <a:pt x="303945" y="172504"/>
                      <a:pt x="309205" y="165920"/>
                      <a:pt x="309205" y="159335"/>
                    </a:cubicBezTo>
                    <a:cubicBezTo>
                      <a:pt x="309205" y="159335"/>
                      <a:pt x="309205" y="159335"/>
                      <a:pt x="309205" y="39504"/>
                    </a:cubicBezTo>
                    <a:cubicBezTo>
                      <a:pt x="309205" y="32920"/>
                      <a:pt x="303945" y="27653"/>
                      <a:pt x="296054" y="27653"/>
                    </a:cubicBezTo>
                    <a:cubicBezTo>
                      <a:pt x="296054" y="27653"/>
                      <a:pt x="296054" y="27653"/>
                      <a:pt x="110620" y="27653"/>
                    </a:cubicBezTo>
                    <a:cubicBezTo>
                      <a:pt x="104044" y="27653"/>
                      <a:pt x="98783" y="32920"/>
                      <a:pt x="98783" y="39504"/>
                    </a:cubicBezTo>
                    <a:cubicBezTo>
                      <a:pt x="98783" y="39504"/>
                      <a:pt x="98783" y="39504"/>
                      <a:pt x="98783" y="65841"/>
                    </a:cubicBezTo>
                    <a:cubicBezTo>
                      <a:pt x="98783" y="65841"/>
                      <a:pt x="98783" y="65841"/>
                      <a:pt x="69850" y="65841"/>
                    </a:cubicBezTo>
                    <a:cubicBezTo>
                      <a:pt x="69850" y="65841"/>
                      <a:pt x="69850" y="65841"/>
                      <a:pt x="69850" y="34237"/>
                    </a:cubicBezTo>
                    <a:cubicBezTo>
                      <a:pt x="69850" y="15802"/>
                      <a:pt x="84317" y="0"/>
                      <a:pt x="10272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 sz="1600"/>
              </a:p>
            </p:txBody>
          </p:sp>
          <p:sp>
            <p:nvSpPr>
              <p:cNvPr id="20" name="矩形 19">
                <a:extLst>
                  <a:ext uri="{FF2B5EF4-FFF2-40B4-BE49-F238E27FC236}">
                    <a16:creationId xmlns:a16="http://schemas.microsoft.com/office/drawing/2014/main" id="{178FD93C-54E3-40CA-AC7D-B72678C48382}"/>
                  </a:ext>
                </a:extLst>
              </p:cNvPr>
              <p:cNvSpPr/>
              <p:nvPr/>
            </p:nvSpPr>
            <p:spPr>
              <a:xfrm>
                <a:off x="1243805" y="3273396"/>
                <a:ext cx="1583586" cy="455721"/>
              </a:xfrm>
              <a:prstGeom prst="rect">
                <a:avLst/>
              </a:prstGeom>
            </p:spPr>
            <p:txBody>
              <a:bodyPr wrap="square" lIns="91440" tIns="45720" rIns="91440" bIns="45720" anchor="ctr" anchorCtr="1">
                <a:normAutofit/>
              </a:bodyPr>
              <a:lstStyle/>
              <a:p>
                <a:pPr algn="ctr"/>
                <a:r>
                  <a:rPr lang="en-US" altLang="zh-CN" sz="1400" b="1" dirty="0">
                    <a:solidFill>
                      <a:schemeClr val="bg1"/>
                    </a:solidFill>
                  </a:rPr>
                  <a:t>XXX</a:t>
                </a:r>
                <a:endParaRPr lang="id-ID" altLang="zh-CN" sz="14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3F7D7B84-4A0B-4DFE-B614-FB52D49FA86A}"/>
                </a:ext>
              </a:extLst>
            </p:cNvPr>
            <p:cNvSpPr/>
            <p:nvPr/>
          </p:nvSpPr>
          <p:spPr bwMode="auto">
            <a:xfrm>
              <a:off x="2306105" y="4569470"/>
              <a:ext cx="2314428" cy="11700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0000" tIns="46800" rIns="90000" bIns="46800" anchor="t" anchorCtr="0">
              <a:normAutofit fontScale="925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60000"/>
                </a:lnSpc>
                <a:spcBef>
                  <a:spcPct val="0"/>
                </a:spcBef>
              </a:pPr>
              <a:r>
                <a:rPr lang="en-US" altLang="zh-CN" sz="1000"/>
                <a:t>Supporting text here. </a:t>
              </a:r>
              <a:br>
                <a:rPr lang="en-US" altLang="zh-CN" sz="1000"/>
              </a:br>
              <a:r>
                <a:rPr lang="en-US" altLang="zh-CN" sz="1000"/>
                <a:t>When you copy &amp; paste, choose "keep text only" option.</a:t>
              </a:r>
              <a:br>
                <a:rPr lang="en-US" altLang="zh-CN" sz="1000"/>
              </a:br>
              <a:br>
                <a:rPr lang="en-US" altLang="zh-CN" sz="1000"/>
              </a:br>
              <a:r>
                <a:rPr lang="en-US" altLang="zh-CN" sz="1000"/>
                <a:t>……</a:t>
              </a:r>
              <a:endParaRPr lang="zh-CN" altLang="en-US" sz="1000" dirty="0"/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F9109649-4E72-4C30-A49F-087656AC74F4}"/>
                </a:ext>
              </a:extLst>
            </p:cNvPr>
            <p:cNvSpPr/>
            <p:nvPr/>
          </p:nvSpPr>
          <p:spPr bwMode="auto">
            <a:xfrm>
              <a:off x="4941547" y="4569470"/>
              <a:ext cx="2314428" cy="11700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0000" tIns="46800" rIns="90000" bIns="46800" anchor="t" anchorCtr="0">
              <a:normAutofit fontScale="925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60000"/>
                </a:lnSpc>
                <a:spcBef>
                  <a:spcPct val="0"/>
                </a:spcBef>
              </a:pPr>
              <a:r>
                <a:rPr lang="en-US" altLang="zh-CN" sz="1000"/>
                <a:t>Supporting text here. </a:t>
              </a:r>
              <a:br>
                <a:rPr lang="en-US" altLang="zh-CN" sz="1000"/>
              </a:br>
              <a:r>
                <a:rPr lang="en-US" altLang="zh-CN" sz="1000"/>
                <a:t>When you copy &amp; paste, choose "keep text only" option.</a:t>
              </a:r>
              <a:br>
                <a:rPr lang="en-US" altLang="zh-CN" sz="1000"/>
              </a:br>
              <a:br>
                <a:rPr lang="en-US" altLang="zh-CN" sz="1000"/>
              </a:br>
              <a:r>
                <a:rPr lang="en-US" altLang="zh-CN" sz="1000"/>
                <a:t>……</a:t>
              </a:r>
              <a:endParaRPr lang="zh-CN" altLang="en-US" sz="1000" dirty="0"/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3AB4B2BA-7CFD-42FD-AD54-A1B3C7F91D8F}"/>
                </a:ext>
              </a:extLst>
            </p:cNvPr>
            <p:cNvSpPr/>
            <p:nvPr/>
          </p:nvSpPr>
          <p:spPr bwMode="auto">
            <a:xfrm>
              <a:off x="7576989" y="4569470"/>
              <a:ext cx="2314428" cy="11700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0000" tIns="46800" rIns="90000" bIns="46800" anchor="t" anchorCtr="0">
              <a:normAutofit fontScale="925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60000"/>
                </a:lnSpc>
                <a:spcBef>
                  <a:spcPct val="0"/>
                </a:spcBef>
              </a:pPr>
              <a:r>
                <a:rPr lang="en-US" altLang="zh-CN" sz="1000"/>
                <a:t>Supporting text here. </a:t>
              </a:r>
              <a:br>
                <a:rPr lang="en-US" altLang="zh-CN" sz="1000"/>
              </a:br>
              <a:r>
                <a:rPr lang="en-US" altLang="zh-CN" sz="1000"/>
                <a:t>When you copy &amp; paste, choose "keep text only" option.</a:t>
              </a:r>
              <a:br>
                <a:rPr lang="en-US" altLang="zh-CN" sz="1000"/>
              </a:br>
              <a:br>
                <a:rPr lang="en-US" altLang="zh-CN" sz="1000"/>
              </a:br>
              <a:r>
                <a:rPr lang="en-US" altLang="zh-CN" sz="1000"/>
                <a:t>……</a:t>
              </a:r>
              <a:endParaRPr lang="zh-CN" altLang="en-US" sz="1000" dirty="0"/>
            </a:p>
          </p:txBody>
        </p: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AFD5BF78-0CF5-4ACE-BFC4-3A673314CE00}"/>
                </a:ext>
              </a:extLst>
            </p:cNvPr>
            <p:cNvCxnSpPr/>
            <p:nvPr/>
          </p:nvCxnSpPr>
          <p:spPr>
            <a:xfrm>
              <a:off x="4757342" y="4103999"/>
              <a:ext cx="0" cy="203962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>
              <a:extLst>
                <a:ext uri="{FF2B5EF4-FFF2-40B4-BE49-F238E27FC236}">
                  <a16:creationId xmlns:a16="http://schemas.microsoft.com/office/drawing/2014/main" id="{7074CFBE-7CCE-4C1D-BC3C-F9E42D706D9C}"/>
                </a:ext>
              </a:extLst>
            </p:cNvPr>
            <p:cNvCxnSpPr/>
            <p:nvPr/>
          </p:nvCxnSpPr>
          <p:spPr>
            <a:xfrm>
              <a:off x="7412342" y="4103999"/>
              <a:ext cx="0" cy="203962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774976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DA4C4C8-396A-48C7-8C05-E14C7AA1A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效益展示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E990D39-1043-4A32-92FF-7730E3B7A1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D564362-9ECA-46D6-95C2-E4A85EAC4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CEBBC69-0681-4AD1-A894-E1E3A87F1B1C}"/>
              </a:ext>
            </a:extLst>
          </p:cNvPr>
          <p:cNvGrpSpPr>
            <a:grpSpLocks noChangeAspect="1"/>
          </p:cNvGrpSpPr>
          <p:nvPr/>
        </p:nvGrpSpPr>
        <p:grpSpPr>
          <a:xfrm>
            <a:off x="671512" y="1123950"/>
            <a:ext cx="10863594" cy="5019675"/>
            <a:chOff x="671512" y="1123950"/>
            <a:chExt cx="10863594" cy="5019675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499B2C6F-E9F3-47DE-9379-5AFE7AA6BA31}"/>
                </a:ext>
              </a:extLst>
            </p:cNvPr>
            <p:cNvGrpSpPr/>
            <p:nvPr/>
          </p:nvGrpSpPr>
          <p:grpSpPr>
            <a:xfrm>
              <a:off x="6073055" y="2178767"/>
              <a:ext cx="1106082" cy="1106078"/>
              <a:chOff x="5925418" y="1972855"/>
              <a:chExt cx="1106082" cy="1106078"/>
            </a:xfrm>
          </p:grpSpPr>
          <p:sp>
            <p:nvSpPr>
              <p:cNvPr id="29" name="椭圆 28">
                <a:extLst>
                  <a:ext uri="{FF2B5EF4-FFF2-40B4-BE49-F238E27FC236}">
                    <a16:creationId xmlns:a16="http://schemas.microsoft.com/office/drawing/2014/main" id="{AD7E7F43-66BD-4375-ADE5-0D0CE86A9079}"/>
                  </a:ext>
                </a:extLst>
              </p:cNvPr>
              <p:cNvSpPr/>
              <p:nvPr/>
            </p:nvSpPr>
            <p:spPr>
              <a:xfrm>
                <a:off x="5925418" y="1972855"/>
                <a:ext cx="1106082" cy="1106078"/>
              </a:xfrm>
              <a:prstGeom prst="ellipse">
                <a:avLst/>
              </a:prstGeom>
              <a:solidFill>
                <a:schemeClr val="accent1"/>
              </a:solidFill>
              <a:ln w="101600">
                <a:solidFill>
                  <a:schemeClr val="accent1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0000" tIns="46800" rIns="90000" bIns="46800" anchor="ctr">
                <a:normAutofit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F9339BCA-6409-4981-8D80-CEC7386F113A}"/>
                  </a:ext>
                </a:extLst>
              </p:cNvPr>
              <p:cNvSpPr/>
              <p:nvPr/>
            </p:nvSpPr>
            <p:spPr bwMode="auto">
              <a:xfrm>
                <a:off x="6163759" y="2223148"/>
                <a:ext cx="629400" cy="605491"/>
              </a:xfrm>
              <a:custGeom>
                <a:avLst/>
                <a:gdLst>
                  <a:gd name="connsiteX0" fmla="*/ 195114 w 608814"/>
                  <a:gd name="connsiteY0" fmla="*/ 351627 h 585693"/>
                  <a:gd name="connsiteX1" fmla="*/ 258290 w 608814"/>
                  <a:gd name="connsiteY1" fmla="*/ 351627 h 585693"/>
                  <a:gd name="connsiteX2" fmla="*/ 282731 w 608814"/>
                  <a:gd name="connsiteY2" fmla="*/ 376018 h 585693"/>
                  <a:gd name="connsiteX3" fmla="*/ 282731 w 608814"/>
                  <a:gd name="connsiteY3" fmla="*/ 561210 h 585693"/>
                  <a:gd name="connsiteX4" fmla="*/ 258290 w 608814"/>
                  <a:gd name="connsiteY4" fmla="*/ 585693 h 585693"/>
                  <a:gd name="connsiteX5" fmla="*/ 195114 w 608814"/>
                  <a:gd name="connsiteY5" fmla="*/ 585693 h 585693"/>
                  <a:gd name="connsiteX6" fmla="*/ 170673 w 608814"/>
                  <a:gd name="connsiteY6" fmla="*/ 561210 h 585693"/>
                  <a:gd name="connsiteX7" fmla="*/ 170673 w 608814"/>
                  <a:gd name="connsiteY7" fmla="*/ 376018 h 585693"/>
                  <a:gd name="connsiteX8" fmla="*/ 195114 w 608814"/>
                  <a:gd name="connsiteY8" fmla="*/ 351627 h 585693"/>
                  <a:gd name="connsiteX9" fmla="*/ 358100 w 608814"/>
                  <a:gd name="connsiteY9" fmla="*/ 249872 h 585693"/>
                  <a:gd name="connsiteX10" fmla="*/ 421316 w 608814"/>
                  <a:gd name="connsiteY10" fmla="*/ 249872 h 585693"/>
                  <a:gd name="connsiteX11" fmla="*/ 445737 w 608814"/>
                  <a:gd name="connsiteY11" fmla="*/ 274267 h 585693"/>
                  <a:gd name="connsiteX12" fmla="*/ 445737 w 608814"/>
                  <a:gd name="connsiteY12" fmla="*/ 561206 h 585693"/>
                  <a:gd name="connsiteX13" fmla="*/ 421316 w 608814"/>
                  <a:gd name="connsiteY13" fmla="*/ 585693 h 585693"/>
                  <a:gd name="connsiteX14" fmla="*/ 358100 w 608814"/>
                  <a:gd name="connsiteY14" fmla="*/ 585693 h 585693"/>
                  <a:gd name="connsiteX15" fmla="*/ 333679 w 608814"/>
                  <a:gd name="connsiteY15" fmla="*/ 561206 h 585693"/>
                  <a:gd name="connsiteX16" fmla="*/ 333679 w 608814"/>
                  <a:gd name="connsiteY16" fmla="*/ 274267 h 585693"/>
                  <a:gd name="connsiteX17" fmla="*/ 358100 w 608814"/>
                  <a:gd name="connsiteY17" fmla="*/ 249872 h 585693"/>
                  <a:gd name="connsiteX18" fmla="*/ 140260 w 608814"/>
                  <a:gd name="connsiteY18" fmla="*/ 224680 h 585693"/>
                  <a:gd name="connsiteX19" fmla="*/ 191844 w 608814"/>
                  <a:gd name="connsiteY19" fmla="*/ 276122 h 585693"/>
                  <a:gd name="connsiteX20" fmla="*/ 140260 w 608814"/>
                  <a:gd name="connsiteY20" fmla="*/ 327564 h 585693"/>
                  <a:gd name="connsiteX21" fmla="*/ 88676 w 608814"/>
                  <a:gd name="connsiteY21" fmla="*/ 276122 h 585693"/>
                  <a:gd name="connsiteX22" fmla="*/ 140260 w 608814"/>
                  <a:gd name="connsiteY22" fmla="*/ 224680 h 585693"/>
                  <a:gd name="connsiteX23" fmla="*/ 521177 w 608814"/>
                  <a:gd name="connsiteY23" fmla="*/ 148117 h 585693"/>
                  <a:gd name="connsiteX24" fmla="*/ 584301 w 608814"/>
                  <a:gd name="connsiteY24" fmla="*/ 148117 h 585693"/>
                  <a:gd name="connsiteX25" fmla="*/ 608814 w 608814"/>
                  <a:gd name="connsiteY25" fmla="*/ 172601 h 585693"/>
                  <a:gd name="connsiteX26" fmla="*/ 608814 w 608814"/>
                  <a:gd name="connsiteY26" fmla="*/ 561209 h 585693"/>
                  <a:gd name="connsiteX27" fmla="*/ 584301 w 608814"/>
                  <a:gd name="connsiteY27" fmla="*/ 585693 h 585693"/>
                  <a:gd name="connsiteX28" fmla="*/ 521177 w 608814"/>
                  <a:gd name="connsiteY28" fmla="*/ 585693 h 585693"/>
                  <a:gd name="connsiteX29" fmla="*/ 496756 w 608814"/>
                  <a:gd name="connsiteY29" fmla="*/ 561209 h 585693"/>
                  <a:gd name="connsiteX30" fmla="*/ 496756 w 608814"/>
                  <a:gd name="connsiteY30" fmla="*/ 172601 h 585693"/>
                  <a:gd name="connsiteX31" fmla="*/ 521177 w 608814"/>
                  <a:gd name="connsiteY31" fmla="*/ 148117 h 585693"/>
                  <a:gd name="connsiteX32" fmla="*/ 116229 w 608814"/>
                  <a:gd name="connsiteY32" fmla="*/ 131322 h 585693"/>
                  <a:gd name="connsiteX33" fmla="*/ 164246 w 608814"/>
                  <a:gd name="connsiteY33" fmla="*/ 131322 h 585693"/>
                  <a:gd name="connsiteX34" fmla="*/ 184061 w 608814"/>
                  <a:gd name="connsiteY34" fmla="*/ 151113 h 585693"/>
                  <a:gd name="connsiteX35" fmla="*/ 184061 w 608814"/>
                  <a:gd name="connsiteY35" fmla="*/ 171457 h 585693"/>
                  <a:gd name="connsiteX36" fmla="*/ 208669 w 608814"/>
                  <a:gd name="connsiteY36" fmla="*/ 186094 h 585693"/>
                  <a:gd name="connsiteX37" fmla="*/ 226641 w 608814"/>
                  <a:gd name="connsiteY37" fmla="*/ 175692 h 585693"/>
                  <a:gd name="connsiteX38" fmla="*/ 253737 w 608814"/>
                  <a:gd name="connsiteY38" fmla="*/ 182964 h 585693"/>
                  <a:gd name="connsiteX39" fmla="*/ 277792 w 608814"/>
                  <a:gd name="connsiteY39" fmla="*/ 224572 h 585693"/>
                  <a:gd name="connsiteX40" fmla="*/ 279727 w 608814"/>
                  <a:gd name="connsiteY40" fmla="*/ 239577 h 585693"/>
                  <a:gd name="connsiteX41" fmla="*/ 270511 w 608814"/>
                  <a:gd name="connsiteY41" fmla="*/ 251544 h 585693"/>
                  <a:gd name="connsiteX42" fmla="*/ 252355 w 608814"/>
                  <a:gd name="connsiteY42" fmla="*/ 262038 h 585693"/>
                  <a:gd name="connsiteX43" fmla="*/ 253829 w 608814"/>
                  <a:gd name="connsiteY43" fmla="*/ 276122 h 585693"/>
                  <a:gd name="connsiteX44" fmla="*/ 252355 w 608814"/>
                  <a:gd name="connsiteY44" fmla="*/ 290206 h 585693"/>
                  <a:gd name="connsiteX45" fmla="*/ 270511 w 608814"/>
                  <a:gd name="connsiteY45" fmla="*/ 300700 h 585693"/>
                  <a:gd name="connsiteX46" fmla="*/ 278714 w 608814"/>
                  <a:gd name="connsiteY46" fmla="*/ 325094 h 585693"/>
                  <a:gd name="connsiteX47" fmla="*/ 258253 w 608814"/>
                  <a:gd name="connsiteY47" fmla="*/ 321136 h 585693"/>
                  <a:gd name="connsiteX48" fmla="*/ 195858 w 608814"/>
                  <a:gd name="connsiteY48" fmla="*/ 321136 h 585693"/>
                  <a:gd name="connsiteX49" fmla="*/ 212171 w 608814"/>
                  <a:gd name="connsiteY49" fmla="*/ 276122 h 585693"/>
                  <a:gd name="connsiteX50" fmla="*/ 140191 w 608814"/>
                  <a:gd name="connsiteY50" fmla="*/ 204320 h 585693"/>
                  <a:gd name="connsiteX51" fmla="*/ 68304 w 608814"/>
                  <a:gd name="connsiteY51" fmla="*/ 276122 h 585693"/>
                  <a:gd name="connsiteX52" fmla="*/ 140191 w 608814"/>
                  <a:gd name="connsiteY52" fmla="*/ 348016 h 585693"/>
                  <a:gd name="connsiteX53" fmla="*/ 148486 w 608814"/>
                  <a:gd name="connsiteY53" fmla="*/ 347095 h 585693"/>
                  <a:gd name="connsiteX54" fmla="*/ 140099 w 608814"/>
                  <a:gd name="connsiteY54" fmla="*/ 376000 h 585693"/>
                  <a:gd name="connsiteX55" fmla="*/ 140099 w 608814"/>
                  <a:gd name="connsiteY55" fmla="*/ 420922 h 585693"/>
                  <a:gd name="connsiteX56" fmla="*/ 116229 w 608814"/>
                  <a:gd name="connsiteY56" fmla="*/ 420922 h 585693"/>
                  <a:gd name="connsiteX57" fmla="*/ 96413 w 608814"/>
                  <a:gd name="connsiteY57" fmla="*/ 401131 h 585693"/>
                  <a:gd name="connsiteX58" fmla="*/ 96413 w 608814"/>
                  <a:gd name="connsiteY58" fmla="*/ 380787 h 585693"/>
                  <a:gd name="connsiteX59" fmla="*/ 71806 w 608814"/>
                  <a:gd name="connsiteY59" fmla="*/ 366150 h 585693"/>
                  <a:gd name="connsiteX60" fmla="*/ 53742 w 608814"/>
                  <a:gd name="connsiteY60" fmla="*/ 376552 h 585693"/>
                  <a:gd name="connsiteX61" fmla="*/ 38719 w 608814"/>
                  <a:gd name="connsiteY61" fmla="*/ 378577 h 585693"/>
                  <a:gd name="connsiteX62" fmla="*/ 26738 w 608814"/>
                  <a:gd name="connsiteY62" fmla="*/ 369372 h 585693"/>
                  <a:gd name="connsiteX63" fmla="*/ 2683 w 608814"/>
                  <a:gd name="connsiteY63" fmla="*/ 327764 h 585693"/>
                  <a:gd name="connsiteX64" fmla="*/ 9872 w 608814"/>
                  <a:gd name="connsiteY64" fmla="*/ 300700 h 585693"/>
                  <a:gd name="connsiteX65" fmla="*/ 28120 w 608814"/>
                  <a:gd name="connsiteY65" fmla="*/ 290206 h 585693"/>
                  <a:gd name="connsiteX66" fmla="*/ 26645 w 608814"/>
                  <a:gd name="connsiteY66" fmla="*/ 276122 h 585693"/>
                  <a:gd name="connsiteX67" fmla="*/ 28120 w 608814"/>
                  <a:gd name="connsiteY67" fmla="*/ 262038 h 585693"/>
                  <a:gd name="connsiteX68" fmla="*/ 9872 w 608814"/>
                  <a:gd name="connsiteY68" fmla="*/ 251544 h 585693"/>
                  <a:gd name="connsiteX69" fmla="*/ 2683 w 608814"/>
                  <a:gd name="connsiteY69" fmla="*/ 224572 h 585693"/>
                  <a:gd name="connsiteX70" fmla="*/ 26738 w 608814"/>
                  <a:gd name="connsiteY70" fmla="*/ 182964 h 585693"/>
                  <a:gd name="connsiteX71" fmla="*/ 38719 w 608814"/>
                  <a:gd name="connsiteY71" fmla="*/ 173759 h 585693"/>
                  <a:gd name="connsiteX72" fmla="*/ 53742 w 608814"/>
                  <a:gd name="connsiteY72" fmla="*/ 175692 h 585693"/>
                  <a:gd name="connsiteX73" fmla="*/ 71806 w 608814"/>
                  <a:gd name="connsiteY73" fmla="*/ 186094 h 585693"/>
                  <a:gd name="connsiteX74" fmla="*/ 96413 w 608814"/>
                  <a:gd name="connsiteY74" fmla="*/ 171457 h 585693"/>
                  <a:gd name="connsiteX75" fmla="*/ 96413 w 608814"/>
                  <a:gd name="connsiteY75" fmla="*/ 151113 h 585693"/>
                  <a:gd name="connsiteX76" fmla="*/ 116229 w 608814"/>
                  <a:gd name="connsiteY76" fmla="*/ 131322 h 585693"/>
                  <a:gd name="connsiteX77" fmla="*/ 445756 w 608814"/>
                  <a:gd name="connsiteY77" fmla="*/ 83476 h 585693"/>
                  <a:gd name="connsiteX78" fmla="*/ 414140 w 608814"/>
                  <a:gd name="connsiteY78" fmla="*/ 115044 h 585693"/>
                  <a:gd name="connsiteX79" fmla="*/ 445756 w 608814"/>
                  <a:gd name="connsiteY79" fmla="*/ 146520 h 585693"/>
                  <a:gd name="connsiteX80" fmla="*/ 477371 w 608814"/>
                  <a:gd name="connsiteY80" fmla="*/ 115044 h 585693"/>
                  <a:gd name="connsiteX81" fmla="*/ 445756 w 608814"/>
                  <a:gd name="connsiteY81" fmla="*/ 83476 h 585693"/>
                  <a:gd name="connsiteX82" fmla="*/ 426676 w 608814"/>
                  <a:gd name="connsiteY82" fmla="*/ 0 h 585693"/>
                  <a:gd name="connsiteX83" fmla="*/ 464835 w 608814"/>
                  <a:gd name="connsiteY83" fmla="*/ 0 h 585693"/>
                  <a:gd name="connsiteX84" fmla="*/ 480597 w 608814"/>
                  <a:gd name="connsiteY84" fmla="*/ 15738 h 585693"/>
                  <a:gd name="connsiteX85" fmla="*/ 480597 w 608814"/>
                  <a:gd name="connsiteY85" fmla="*/ 31936 h 585693"/>
                  <a:gd name="connsiteX86" fmla="*/ 500138 w 608814"/>
                  <a:gd name="connsiteY86" fmla="*/ 43533 h 585693"/>
                  <a:gd name="connsiteX87" fmla="*/ 514425 w 608814"/>
                  <a:gd name="connsiteY87" fmla="*/ 35249 h 585693"/>
                  <a:gd name="connsiteX88" fmla="*/ 535901 w 608814"/>
                  <a:gd name="connsiteY88" fmla="*/ 40956 h 585693"/>
                  <a:gd name="connsiteX89" fmla="*/ 554981 w 608814"/>
                  <a:gd name="connsiteY89" fmla="*/ 73996 h 585693"/>
                  <a:gd name="connsiteX90" fmla="*/ 556640 w 608814"/>
                  <a:gd name="connsiteY90" fmla="*/ 85961 h 585693"/>
                  <a:gd name="connsiteX91" fmla="*/ 549266 w 608814"/>
                  <a:gd name="connsiteY91" fmla="*/ 95440 h 585693"/>
                  <a:gd name="connsiteX92" fmla="*/ 534887 w 608814"/>
                  <a:gd name="connsiteY92" fmla="*/ 103815 h 585693"/>
                  <a:gd name="connsiteX93" fmla="*/ 535993 w 608814"/>
                  <a:gd name="connsiteY93" fmla="*/ 115044 h 585693"/>
                  <a:gd name="connsiteX94" fmla="*/ 535717 w 608814"/>
                  <a:gd name="connsiteY94" fmla="*/ 117621 h 585693"/>
                  <a:gd name="connsiteX95" fmla="*/ 521153 w 608814"/>
                  <a:gd name="connsiteY95" fmla="*/ 117621 h 585693"/>
                  <a:gd name="connsiteX96" fmla="*/ 466126 w 608814"/>
                  <a:gd name="connsiteY96" fmla="*/ 172565 h 585693"/>
                  <a:gd name="connsiteX97" fmla="*/ 466126 w 608814"/>
                  <a:gd name="connsiteY97" fmla="*/ 229719 h 585693"/>
                  <a:gd name="connsiteX98" fmla="*/ 466126 w 608814"/>
                  <a:gd name="connsiteY98" fmla="*/ 242604 h 585693"/>
                  <a:gd name="connsiteX99" fmla="*/ 453590 w 608814"/>
                  <a:gd name="connsiteY99" fmla="*/ 229995 h 585693"/>
                  <a:gd name="connsiteX100" fmla="*/ 421330 w 608814"/>
                  <a:gd name="connsiteY100" fmla="*/ 219319 h 585693"/>
                  <a:gd name="connsiteX101" fmla="*/ 411928 w 608814"/>
                  <a:gd name="connsiteY101" fmla="*/ 219319 h 585693"/>
                  <a:gd name="connsiteX102" fmla="*/ 410914 w 608814"/>
                  <a:gd name="connsiteY102" fmla="*/ 214257 h 585693"/>
                  <a:gd name="connsiteX103" fmla="*/ 410914 w 608814"/>
                  <a:gd name="connsiteY103" fmla="*/ 198059 h 585693"/>
                  <a:gd name="connsiteX104" fmla="*/ 391373 w 608814"/>
                  <a:gd name="connsiteY104" fmla="*/ 186463 h 585693"/>
                  <a:gd name="connsiteX105" fmla="*/ 377086 w 608814"/>
                  <a:gd name="connsiteY105" fmla="*/ 194746 h 585693"/>
                  <a:gd name="connsiteX106" fmla="*/ 365104 w 608814"/>
                  <a:gd name="connsiteY106" fmla="*/ 196310 h 585693"/>
                  <a:gd name="connsiteX107" fmla="*/ 355610 w 608814"/>
                  <a:gd name="connsiteY107" fmla="*/ 189040 h 585693"/>
                  <a:gd name="connsiteX108" fmla="*/ 336530 w 608814"/>
                  <a:gd name="connsiteY108" fmla="*/ 155999 h 585693"/>
                  <a:gd name="connsiteX109" fmla="*/ 342245 w 608814"/>
                  <a:gd name="connsiteY109" fmla="*/ 134463 h 585693"/>
                  <a:gd name="connsiteX110" fmla="*/ 356716 w 608814"/>
                  <a:gd name="connsiteY110" fmla="*/ 126180 h 585693"/>
                  <a:gd name="connsiteX111" fmla="*/ 355518 w 608814"/>
                  <a:gd name="connsiteY111" fmla="*/ 115044 h 585693"/>
                  <a:gd name="connsiteX112" fmla="*/ 356716 w 608814"/>
                  <a:gd name="connsiteY112" fmla="*/ 103815 h 585693"/>
                  <a:gd name="connsiteX113" fmla="*/ 342245 w 608814"/>
                  <a:gd name="connsiteY113" fmla="*/ 95440 h 585693"/>
                  <a:gd name="connsiteX114" fmla="*/ 336530 w 608814"/>
                  <a:gd name="connsiteY114" fmla="*/ 73996 h 585693"/>
                  <a:gd name="connsiteX115" fmla="*/ 355610 w 608814"/>
                  <a:gd name="connsiteY115" fmla="*/ 40956 h 585693"/>
                  <a:gd name="connsiteX116" fmla="*/ 365104 w 608814"/>
                  <a:gd name="connsiteY116" fmla="*/ 33685 h 585693"/>
                  <a:gd name="connsiteX117" fmla="*/ 377086 w 608814"/>
                  <a:gd name="connsiteY117" fmla="*/ 35249 h 585693"/>
                  <a:gd name="connsiteX118" fmla="*/ 391373 w 608814"/>
                  <a:gd name="connsiteY118" fmla="*/ 43533 h 585693"/>
                  <a:gd name="connsiteX119" fmla="*/ 410914 w 608814"/>
                  <a:gd name="connsiteY119" fmla="*/ 31936 h 585693"/>
                  <a:gd name="connsiteX120" fmla="*/ 410914 w 608814"/>
                  <a:gd name="connsiteY120" fmla="*/ 15738 h 585693"/>
                  <a:gd name="connsiteX121" fmla="*/ 426676 w 608814"/>
                  <a:gd name="connsiteY121" fmla="*/ 0 h 58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608814" h="585693">
                    <a:moveTo>
                      <a:pt x="195114" y="351627"/>
                    </a:moveTo>
                    <a:lnTo>
                      <a:pt x="258290" y="351627"/>
                    </a:lnTo>
                    <a:cubicBezTo>
                      <a:pt x="271848" y="351627"/>
                      <a:pt x="282731" y="362580"/>
                      <a:pt x="282731" y="376018"/>
                    </a:cubicBezTo>
                    <a:lnTo>
                      <a:pt x="282731" y="561210"/>
                    </a:lnTo>
                    <a:cubicBezTo>
                      <a:pt x="282731" y="574740"/>
                      <a:pt x="271848" y="585693"/>
                      <a:pt x="258290" y="585693"/>
                    </a:cubicBezTo>
                    <a:lnTo>
                      <a:pt x="195114" y="585693"/>
                    </a:lnTo>
                    <a:cubicBezTo>
                      <a:pt x="181556" y="585693"/>
                      <a:pt x="170673" y="574740"/>
                      <a:pt x="170673" y="561210"/>
                    </a:cubicBezTo>
                    <a:lnTo>
                      <a:pt x="170673" y="376018"/>
                    </a:lnTo>
                    <a:cubicBezTo>
                      <a:pt x="170673" y="362580"/>
                      <a:pt x="181556" y="351627"/>
                      <a:pt x="195114" y="351627"/>
                    </a:cubicBezTo>
                    <a:close/>
                    <a:moveTo>
                      <a:pt x="358100" y="249872"/>
                    </a:moveTo>
                    <a:lnTo>
                      <a:pt x="421316" y="249872"/>
                    </a:lnTo>
                    <a:cubicBezTo>
                      <a:pt x="434771" y="249872"/>
                      <a:pt x="445737" y="260735"/>
                      <a:pt x="445737" y="274267"/>
                    </a:cubicBezTo>
                    <a:lnTo>
                      <a:pt x="445737" y="561206"/>
                    </a:lnTo>
                    <a:cubicBezTo>
                      <a:pt x="445737" y="574738"/>
                      <a:pt x="434771" y="585693"/>
                      <a:pt x="421316" y="585693"/>
                    </a:cubicBezTo>
                    <a:lnTo>
                      <a:pt x="358100" y="585693"/>
                    </a:lnTo>
                    <a:cubicBezTo>
                      <a:pt x="344645" y="585693"/>
                      <a:pt x="333679" y="574738"/>
                      <a:pt x="333679" y="561206"/>
                    </a:cubicBezTo>
                    <a:lnTo>
                      <a:pt x="333679" y="274267"/>
                    </a:lnTo>
                    <a:cubicBezTo>
                      <a:pt x="333679" y="260735"/>
                      <a:pt x="344645" y="249872"/>
                      <a:pt x="358100" y="249872"/>
                    </a:cubicBezTo>
                    <a:close/>
                    <a:moveTo>
                      <a:pt x="140260" y="224680"/>
                    </a:moveTo>
                    <a:cubicBezTo>
                      <a:pt x="168749" y="224680"/>
                      <a:pt x="191844" y="247711"/>
                      <a:pt x="191844" y="276122"/>
                    </a:cubicBezTo>
                    <a:cubicBezTo>
                      <a:pt x="191844" y="304533"/>
                      <a:pt x="168749" y="327564"/>
                      <a:pt x="140260" y="327564"/>
                    </a:cubicBezTo>
                    <a:cubicBezTo>
                      <a:pt x="111771" y="327564"/>
                      <a:pt x="88676" y="304533"/>
                      <a:pt x="88676" y="276122"/>
                    </a:cubicBezTo>
                    <a:cubicBezTo>
                      <a:pt x="88676" y="247711"/>
                      <a:pt x="111771" y="224680"/>
                      <a:pt x="140260" y="224680"/>
                    </a:cubicBezTo>
                    <a:close/>
                    <a:moveTo>
                      <a:pt x="521177" y="148117"/>
                    </a:moveTo>
                    <a:lnTo>
                      <a:pt x="584301" y="148117"/>
                    </a:lnTo>
                    <a:cubicBezTo>
                      <a:pt x="597848" y="148117"/>
                      <a:pt x="608814" y="159070"/>
                      <a:pt x="608814" y="172601"/>
                    </a:cubicBezTo>
                    <a:lnTo>
                      <a:pt x="608814" y="561209"/>
                    </a:lnTo>
                    <a:cubicBezTo>
                      <a:pt x="608814" y="574740"/>
                      <a:pt x="597848" y="585693"/>
                      <a:pt x="584301" y="585693"/>
                    </a:cubicBezTo>
                    <a:lnTo>
                      <a:pt x="521177" y="585693"/>
                    </a:lnTo>
                    <a:cubicBezTo>
                      <a:pt x="507722" y="585693"/>
                      <a:pt x="496756" y="574740"/>
                      <a:pt x="496756" y="561209"/>
                    </a:cubicBezTo>
                    <a:lnTo>
                      <a:pt x="496756" y="172601"/>
                    </a:lnTo>
                    <a:cubicBezTo>
                      <a:pt x="496756" y="159070"/>
                      <a:pt x="507722" y="148117"/>
                      <a:pt x="521177" y="148117"/>
                    </a:cubicBezTo>
                    <a:close/>
                    <a:moveTo>
                      <a:pt x="116229" y="131322"/>
                    </a:moveTo>
                    <a:lnTo>
                      <a:pt x="164246" y="131322"/>
                    </a:lnTo>
                    <a:cubicBezTo>
                      <a:pt x="175214" y="131322"/>
                      <a:pt x="184061" y="140159"/>
                      <a:pt x="184061" y="151113"/>
                    </a:cubicBezTo>
                    <a:lnTo>
                      <a:pt x="184061" y="171457"/>
                    </a:lnTo>
                    <a:cubicBezTo>
                      <a:pt x="193001" y="175231"/>
                      <a:pt x="201019" y="180386"/>
                      <a:pt x="208669" y="186094"/>
                    </a:cubicBezTo>
                    <a:lnTo>
                      <a:pt x="226641" y="175692"/>
                    </a:lnTo>
                    <a:cubicBezTo>
                      <a:pt x="236134" y="170261"/>
                      <a:pt x="248300" y="173482"/>
                      <a:pt x="253737" y="182964"/>
                    </a:cubicBezTo>
                    <a:lnTo>
                      <a:pt x="277792" y="224572"/>
                    </a:lnTo>
                    <a:cubicBezTo>
                      <a:pt x="280465" y="229083"/>
                      <a:pt x="281110" y="234514"/>
                      <a:pt x="279727" y="239577"/>
                    </a:cubicBezTo>
                    <a:cubicBezTo>
                      <a:pt x="278437" y="244640"/>
                      <a:pt x="275119" y="248966"/>
                      <a:pt x="270511" y="251544"/>
                    </a:cubicBezTo>
                    <a:lnTo>
                      <a:pt x="252355" y="262038"/>
                    </a:lnTo>
                    <a:cubicBezTo>
                      <a:pt x="253000" y="266733"/>
                      <a:pt x="253829" y="271335"/>
                      <a:pt x="253829" y="276122"/>
                    </a:cubicBezTo>
                    <a:cubicBezTo>
                      <a:pt x="253829" y="281001"/>
                      <a:pt x="253000" y="285604"/>
                      <a:pt x="252355" y="290206"/>
                    </a:cubicBezTo>
                    <a:lnTo>
                      <a:pt x="270511" y="300700"/>
                    </a:lnTo>
                    <a:cubicBezTo>
                      <a:pt x="279174" y="305671"/>
                      <a:pt x="282308" y="316165"/>
                      <a:pt x="278714" y="325094"/>
                    </a:cubicBezTo>
                    <a:cubicBezTo>
                      <a:pt x="272354" y="322609"/>
                      <a:pt x="265442" y="321136"/>
                      <a:pt x="258253" y="321136"/>
                    </a:cubicBezTo>
                    <a:lnTo>
                      <a:pt x="195858" y="321136"/>
                    </a:lnTo>
                    <a:cubicBezTo>
                      <a:pt x="205904" y="308709"/>
                      <a:pt x="212171" y="293244"/>
                      <a:pt x="212171" y="276122"/>
                    </a:cubicBezTo>
                    <a:cubicBezTo>
                      <a:pt x="212171" y="236539"/>
                      <a:pt x="179914" y="204320"/>
                      <a:pt x="140191" y="204320"/>
                    </a:cubicBezTo>
                    <a:cubicBezTo>
                      <a:pt x="100561" y="204320"/>
                      <a:pt x="68304" y="236539"/>
                      <a:pt x="68304" y="276122"/>
                    </a:cubicBezTo>
                    <a:cubicBezTo>
                      <a:pt x="68304" y="315797"/>
                      <a:pt x="100561" y="348016"/>
                      <a:pt x="140191" y="348016"/>
                    </a:cubicBezTo>
                    <a:cubicBezTo>
                      <a:pt x="143048" y="348016"/>
                      <a:pt x="145721" y="347463"/>
                      <a:pt x="148486" y="347095"/>
                    </a:cubicBezTo>
                    <a:cubicBezTo>
                      <a:pt x="143233" y="355564"/>
                      <a:pt x="140099" y="365414"/>
                      <a:pt x="140099" y="376000"/>
                    </a:cubicBezTo>
                    <a:lnTo>
                      <a:pt x="140099" y="420922"/>
                    </a:lnTo>
                    <a:lnTo>
                      <a:pt x="116229" y="420922"/>
                    </a:lnTo>
                    <a:cubicBezTo>
                      <a:pt x="105261" y="420922"/>
                      <a:pt x="96413" y="412085"/>
                      <a:pt x="96413" y="401131"/>
                    </a:cubicBezTo>
                    <a:lnTo>
                      <a:pt x="96413" y="380787"/>
                    </a:lnTo>
                    <a:cubicBezTo>
                      <a:pt x="87474" y="377013"/>
                      <a:pt x="79455" y="371950"/>
                      <a:pt x="71806" y="366150"/>
                    </a:cubicBezTo>
                    <a:lnTo>
                      <a:pt x="53742" y="376552"/>
                    </a:lnTo>
                    <a:cubicBezTo>
                      <a:pt x="49226" y="379222"/>
                      <a:pt x="43788" y="379866"/>
                      <a:pt x="38719" y="378577"/>
                    </a:cubicBezTo>
                    <a:cubicBezTo>
                      <a:pt x="33650" y="377197"/>
                      <a:pt x="29318" y="373883"/>
                      <a:pt x="26738" y="369372"/>
                    </a:cubicBezTo>
                    <a:lnTo>
                      <a:pt x="2683" y="327764"/>
                    </a:lnTo>
                    <a:cubicBezTo>
                      <a:pt x="-2847" y="318282"/>
                      <a:pt x="471" y="306131"/>
                      <a:pt x="9872" y="300700"/>
                    </a:cubicBezTo>
                    <a:lnTo>
                      <a:pt x="28120" y="290206"/>
                    </a:lnTo>
                    <a:cubicBezTo>
                      <a:pt x="27475" y="285604"/>
                      <a:pt x="26645" y="281001"/>
                      <a:pt x="26645" y="276122"/>
                    </a:cubicBezTo>
                    <a:cubicBezTo>
                      <a:pt x="26645" y="271335"/>
                      <a:pt x="27475" y="266733"/>
                      <a:pt x="28120" y="262038"/>
                    </a:cubicBezTo>
                    <a:lnTo>
                      <a:pt x="9872" y="251544"/>
                    </a:lnTo>
                    <a:cubicBezTo>
                      <a:pt x="471" y="246113"/>
                      <a:pt x="-2847" y="233962"/>
                      <a:pt x="2683" y="224572"/>
                    </a:cubicBezTo>
                    <a:lnTo>
                      <a:pt x="26738" y="182964"/>
                    </a:lnTo>
                    <a:cubicBezTo>
                      <a:pt x="29318" y="178361"/>
                      <a:pt x="33650" y="175139"/>
                      <a:pt x="38719" y="173759"/>
                    </a:cubicBezTo>
                    <a:cubicBezTo>
                      <a:pt x="43788" y="172378"/>
                      <a:pt x="49226" y="173114"/>
                      <a:pt x="53742" y="175692"/>
                    </a:cubicBezTo>
                    <a:lnTo>
                      <a:pt x="71806" y="186094"/>
                    </a:lnTo>
                    <a:cubicBezTo>
                      <a:pt x="79455" y="180386"/>
                      <a:pt x="87474" y="175231"/>
                      <a:pt x="96413" y="171457"/>
                    </a:cubicBezTo>
                    <a:lnTo>
                      <a:pt x="96413" y="151113"/>
                    </a:lnTo>
                    <a:cubicBezTo>
                      <a:pt x="96413" y="140159"/>
                      <a:pt x="105261" y="131322"/>
                      <a:pt x="116229" y="131322"/>
                    </a:cubicBezTo>
                    <a:close/>
                    <a:moveTo>
                      <a:pt x="445756" y="83476"/>
                    </a:moveTo>
                    <a:cubicBezTo>
                      <a:pt x="428335" y="83476"/>
                      <a:pt x="414140" y="97557"/>
                      <a:pt x="414140" y="115044"/>
                    </a:cubicBezTo>
                    <a:cubicBezTo>
                      <a:pt x="414140" y="132438"/>
                      <a:pt x="428335" y="146520"/>
                      <a:pt x="445756" y="146520"/>
                    </a:cubicBezTo>
                    <a:cubicBezTo>
                      <a:pt x="463176" y="146520"/>
                      <a:pt x="477371" y="132438"/>
                      <a:pt x="477371" y="115044"/>
                    </a:cubicBezTo>
                    <a:cubicBezTo>
                      <a:pt x="477371" y="97557"/>
                      <a:pt x="463176" y="83476"/>
                      <a:pt x="445756" y="83476"/>
                    </a:cubicBezTo>
                    <a:close/>
                    <a:moveTo>
                      <a:pt x="426676" y="0"/>
                    </a:moveTo>
                    <a:lnTo>
                      <a:pt x="464835" y="0"/>
                    </a:lnTo>
                    <a:cubicBezTo>
                      <a:pt x="473500" y="0"/>
                      <a:pt x="480597" y="7087"/>
                      <a:pt x="480597" y="15738"/>
                    </a:cubicBezTo>
                    <a:lnTo>
                      <a:pt x="480597" y="31936"/>
                    </a:lnTo>
                    <a:cubicBezTo>
                      <a:pt x="487694" y="34881"/>
                      <a:pt x="494054" y="38931"/>
                      <a:pt x="500138" y="43533"/>
                    </a:cubicBezTo>
                    <a:lnTo>
                      <a:pt x="514425" y="35249"/>
                    </a:lnTo>
                    <a:cubicBezTo>
                      <a:pt x="521983" y="30924"/>
                      <a:pt x="531569" y="33501"/>
                      <a:pt x="535901" y="40956"/>
                    </a:cubicBezTo>
                    <a:lnTo>
                      <a:pt x="554981" y="73996"/>
                    </a:lnTo>
                    <a:cubicBezTo>
                      <a:pt x="557101" y="77585"/>
                      <a:pt x="557654" y="81911"/>
                      <a:pt x="556640" y="85961"/>
                    </a:cubicBezTo>
                    <a:cubicBezTo>
                      <a:pt x="555534" y="89918"/>
                      <a:pt x="552861" y="93415"/>
                      <a:pt x="549266" y="95440"/>
                    </a:cubicBezTo>
                    <a:lnTo>
                      <a:pt x="534887" y="103815"/>
                    </a:lnTo>
                    <a:cubicBezTo>
                      <a:pt x="535348" y="107497"/>
                      <a:pt x="535993" y="111178"/>
                      <a:pt x="535993" y="115044"/>
                    </a:cubicBezTo>
                    <a:cubicBezTo>
                      <a:pt x="535993" y="115872"/>
                      <a:pt x="535809" y="116700"/>
                      <a:pt x="535717" y="117621"/>
                    </a:cubicBezTo>
                    <a:lnTo>
                      <a:pt x="521153" y="117621"/>
                    </a:lnTo>
                    <a:cubicBezTo>
                      <a:pt x="490828" y="117621"/>
                      <a:pt x="466126" y="142286"/>
                      <a:pt x="466126" y="172565"/>
                    </a:cubicBezTo>
                    <a:lnTo>
                      <a:pt x="466126" y="229719"/>
                    </a:lnTo>
                    <a:lnTo>
                      <a:pt x="466126" y="242604"/>
                    </a:lnTo>
                    <a:cubicBezTo>
                      <a:pt x="462715" y="237726"/>
                      <a:pt x="458383" y="233493"/>
                      <a:pt x="453590" y="229995"/>
                    </a:cubicBezTo>
                    <a:cubicBezTo>
                      <a:pt x="444465" y="223369"/>
                      <a:pt x="433404" y="219319"/>
                      <a:pt x="421330" y="219319"/>
                    </a:cubicBezTo>
                    <a:lnTo>
                      <a:pt x="411928" y="219319"/>
                    </a:lnTo>
                    <a:cubicBezTo>
                      <a:pt x="411375" y="217755"/>
                      <a:pt x="410914" y="216098"/>
                      <a:pt x="410914" y="214257"/>
                    </a:cubicBezTo>
                    <a:lnTo>
                      <a:pt x="410914" y="198059"/>
                    </a:lnTo>
                    <a:cubicBezTo>
                      <a:pt x="403817" y="195114"/>
                      <a:pt x="397457" y="191064"/>
                      <a:pt x="391373" y="186463"/>
                    </a:cubicBezTo>
                    <a:lnTo>
                      <a:pt x="377086" y="194746"/>
                    </a:lnTo>
                    <a:cubicBezTo>
                      <a:pt x="373492" y="196863"/>
                      <a:pt x="369160" y="197415"/>
                      <a:pt x="365104" y="196310"/>
                    </a:cubicBezTo>
                    <a:cubicBezTo>
                      <a:pt x="361140" y="195206"/>
                      <a:pt x="357638" y="192629"/>
                      <a:pt x="355610" y="189040"/>
                    </a:cubicBezTo>
                    <a:lnTo>
                      <a:pt x="336530" y="155999"/>
                    </a:lnTo>
                    <a:cubicBezTo>
                      <a:pt x="332198" y="148452"/>
                      <a:pt x="334687" y="138881"/>
                      <a:pt x="342245" y="134463"/>
                    </a:cubicBezTo>
                    <a:lnTo>
                      <a:pt x="356716" y="126180"/>
                    </a:lnTo>
                    <a:cubicBezTo>
                      <a:pt x="356163" y="122498"/>
                      <a:pt x="355518" y="118817"/>
                      <a:pt x="355518" y="115044"/>
                    </a:cubicBezTo>
                    <a:cubicBezTo>
                      <a:pt x="355518" y="111178"/>
                      <a:pt x="356163" y="107497"/>
                      <a:pt x="356716" y="103815"/>
                    </a:cubicBezTo>
                    <a:lnTo>
                      <a:pt x="342245" y="95440"/>
                    </a:lnTo>
                    <a:cubicBezTo>
                      <a:pt x="334687" y="91115"/>
                      <a:pt x="332198" y="81543"/>
                      <a:pt x="336530" y="73996"/>
                    </a:cubicBezTo>
                    <a:lnTo>
                      <a:pt x="355610" y="40956"/>
                    </a:lnTo>
                    <a:cubicBezTo>
                      <a:pt x="357638" y="37366"/>
                      <a:pt x="361140" y="34789"/>
                      <a:pt x="365104" y="33685"/>
                    </a:cubicBezTo>
                    <a:cubicBezTo>
                      <a:pt x="369160" y="32580"/>
                      <a:pt x="373492" y="33133"/>
                      <a:pt x="377086" y="35249"/>
                    </a:cubicBezTo>
                    <a:lnTo>
                      <a:pt x="391373" y="43533"/>
                    </a:lnTo>
                    <a:cubicBezTo>
                      <a:pt x="397457" y="38931"/>
                      <a:pt x="403817" y="34881"/>
                      <a:pt x="410914" y="31936"/>
                    </a:cubicBezTo>
                    <a:lnTo>
                      <a:pt x="410914" y="15738"/>
                    </a:lnTo>
                    <a:cubicBezTo>
                      <a:pt x="410914" y="7087"/>
                      <a:pt x="418011" y="0"/>
                      <a:pt x="42667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</p:grpSp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6382F0E9-6335-4CBF-BF4C-7C35F13AE856}"/>
                </a:ext>
              </a:extLst>
            </p:cNvPr>
            <p:cNvSpPr/>
            <p:nvPr/>
          </p:nvSpPr>
          <p:spPr>
            <a:xfrm>
              <a:off x="7043378" y="2555699"/>
              <a:ext cx="352208" cy="352212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1600" b="1" dirty="0">
                  <a:solidFill>
                    <a:schemeClr val="bg1"/>
                  </a:solidFill>
                </a:rPr>
                <a:t>1</a:t>
              </a:r>
              <a:endParaRPr lang="zh-CN" alt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13B6BB72-CAFA-4BEB-99DC-58E9EDE6B868}"/>
                </a:ext>
              </a:extLst>
            </p:cNvPr>
            <p:cNvSpPr txBox="1"/>
            <p:nvPr/>
          </p:nvSpPr>
          <p:spPr>
            <a:xfrm>
              <a:off x="671512" y="2501852"/>
              <a:ext cx="3456421" cy="1980000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norm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100" dirty="0"/>
                <a:t>Unified fonts make reading more fluent.</a:t>
              </a:r>
            </a:p>
            <a:p>
              <a:pPr>
                <a:lnSpc>
                  <a:spcPct val="150000"/>
                </a:lnSpc>
              </a:pPr>
              <a:r>
                <a:rPr lang="en-US" altLang="zh-CN" b="1" dirty="0"/>
                <a:t>Theme color makes PPT more convenient to change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1100" dirty="0"/>
                <a:t>Adjust the spacing to adapt to Chinese typesetting, us</a:t>
              </a:r>
              <a:r>
                <a:rPr lang="en-US" altLang="zh-CN" sz="100" dirty="0"/>
                <a:t> </a:t>
              </a:r>
              <a:r>
                <a:rPr lang="en-US" altLang="zh-CN" sz="1100" dirty="0"/>
                <a:t>e the reference line in PPT.</a:t>
              </a:r>
              <a:endParaRPr lang="en-US" sz="1600" b="1" dirty="0"/>
            </a:p>
          </p:txBody>
        </p: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47BC8903-D2D8-42A0-8ED0-EA3E6ACB089F}"/>
                </a:ext>
              </a:extLst>
            </p:cNvPr>
            <p:cNvGrpSpPr/>
            <p:nvPr/>
          </p:nvGrpSpPr>
          <p:grpSpPr>
            <a:xfrm>
              <a:off x="9311056" y="2178767"/>
              <a:ext cx="1339119" cy="1106078"/>
              <a:chOff x="10065135" y="1972855"/>
              <a:chExt cx="1339119" cy="1106078"/>
            </a:xfrm>
          </p:grpSpPr>
          <p:sp>
            <p:nvSpPr>
              <p:cNvPr id="19" name="椭圆 18">
                <a:extLst>
                  <a:ext uri="{FF2B5EF4-FFF2-40B4-BE49-F238E27FC236}">
                    <a16:creationId xmlns:a16="http://schemas.microsoft.com/office/drawing/2014/main" id="{24FFD504-699C-4627-AA2E-61A14F93E1F3}"/>
                  </a:ext>
                </a:extLst>
              </p:cNvPr>
              <p:cNvSpPr/>
              <p:nvPr/>
            </p:nvSpPr>
            <p:spPr>
              <a:xfrm>
                <a:off x="10298172" y="1972855"/>
                <a:ext cx="1106082" cy="1106078"/>
              </a:xfrm>
              <a:prstGeom prst="ellipse">
                <a:avLst/>
              </a:prstGeom>
              <a:solidFill>
                <a:schemeClr val="accent3"/>
              </a:solidFill>
              <a:ln w="101600">
                <a:solidFill>
                  <a:schemeClr val="accent3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0000" tIns="46800" rIns="90000" bIns="46800" anchor="ctr">
                <a:normAutofit/>
              </a:bodyPr>
              <a:lstStyle/>
              <a:p>
                <a:pPr algn="ctr"/>
                <a:endParaRPr dirty="0"/>
              </a:p>
            </p:txBody>
          </p:sp>
          <p:sp>
            <p:nvSpPr>
              <p:cNvPr id="20" name="任意多边形: 形状 19">
                <a:extLst>
                  <a:ext uri="{FF2B5EF4-FFF2-40B4-BE49-F238E27FC236}">
                    <a16:creationId xmlns:a16="http://schemas.microsoft.com/office/drawing/2014/main" id="{652A98AF-71A8-4A58-B9E9-6A9DD5E4BEB1}"/>
                  </a:ext>
                </a:extLst>
              </p:cNvPr>
              <p:cNvSpPr/>
              <p:nvPr/>
            </p:nvSpPr>
            <p:spPr bwMode="auto">
              <a:xfrm>
                <a:off x="10536513" y="2223148"/>
                <a:ext cx="629400" cy="605491"/>
              </a:xfrm>
              <a:custGeom>
                <a:avLst/>
                <a:gdLst>
                  <a:gd name="connsiteX0" fmla="*/ 195114 w 608814"/>
                  <a:gd name="connsiteY0" fmla="*/ 351627 h 585693"/>
                  <a:gd name="connsiteX1" fmla="*/ 258290 w 608814"/>
                  <a:gd name="connsiteY1" fmla="*/ 351627 h 585693"/>
                  <a:gd name="connsiteX2" fmla="*/ 282731 w 608814"/>
                  <a:gd name="connsiteY2" fmla="*/ 376018 h 585693"/>
                  <a:gd name="connsiteX3" fmla="*/ 282731 w 608814"/>
                  <a:gd name="connsiteY3" fmla="*/ 561210 h 585693"/>
                  <a:gd name="connsiteX4" fmla="*/ 258290 w 608814"/>
                  <a:gd name="connsiteY4" fmla="*/ 585693 h 585693"/>
                  <a:gd name="connsiteX5" fmla="*/ 195114 w 608814"/>
                  <a:gd name="connsiteY5" fmla="*/ 585693 h 585693"/>
                  <a:gd name="connsiteX6" fmla="*/ 170673 w 608814"/>
                  <a:gd name="connsiteY6" fmla="*/ 561210 h 585693"/>
                  <a:gd name="connsiteX7" fmla="*/ 170673 w 608814"/>
                  <a:gd name="connsiteY7" fmla="*/ 376018 h 585693"/>
                  <a:gd name="connsiteX8" fmla="*/ 195114 w 608814"/>
                  <a:gd name="connsiteY8" fmla="*/ 351627 h 585693"/>
                  <a:gd name="connsiteX9" fmla="*/ 358100 w 608814"/>
                  <a:gd name="connsiteY9" fmla="*/ 249872 h 585693"/>
                  <a:gd name="connsiteX10" fmla="*/ 421316 w 608814"/>
                  <a:gd name="connsiteY10" fmla="*/ 249872 h 585693"/>
                  <a:gd name="connsiteX11" fmla="*/ 445737 w 608814"/>
                  <a:gd name="connsiteY11" fmla="*/ 274267 h 585693"/>
                  <a:gd name="connsiteX12" fmla="*/ 445737 w 608814"/>
                  <a:gd name="connsiteY12" fmla="*/ 561206 h 585693"/>
                  <a:gd name="connsiteX13" fmla="*/ 421316 w 608814"/>
                  <a:gd name="connsiteY13" fmla="*/ 585693 h 585693"/>
                  <a:gd name="connsiteX14" fmla="*/ 358100 w 608814"/>
                  <a:gd name="connsiteY14" fmla="*/ 585693 h 585693"/>
                  <a:gd name="connsiteX15" fmla="*/ 333679 w 608814"/>
                  <a:gd name="connsiteY15" fmla="*/ 561206 h 585693"/>
                  <a:gd name="connsiteX16" fmla="*/ 333679 w 608814"/>
                  <a:gd name="connsiteY16" fmla="*/ 274267 h 585693"/>
                  <a:gd name="connsiteX17" fmla="*/ 358100 w 608814"/>
                  <a:gd name="connsiteY17" fmla="*/ 249872 h 585693"/>
                  <a:gd name="connsiteX18" fmla="*/ 140260 w 608814"/>
                  <a:gd name="connsiteY18" fmla="*/ 224680 h 585693"/>
                  <a:gd name="connsiteX19" fmla="*/ 191844 w 608814"/>
                  <a:gd name="connsiteY19" fmla="*/ 276122 h 585693"/>
                  <a:gd name="connsiteX20" fmla="*/ 140260 w 608814"/>
                  <a:gd name="connsiteY20" fmla="*/ 327564 h 585693"/>
                  <a:gd name="connsiteX21" fmla="*/ 88676 w 608814"/>
                  <a:gd name="connsiteY21" fmla="*/ 276122 h 585693"/>
                  <a:gd name="connsiteX22" fmla="*/ 140260 w 608814"/>
                  <a:gd name="connsiteY22" fmla="*/ 224680 h 585693"/>
                  <a:gd name="connsiteX23" fmla="*/ 521177 w 608814"/>
                  <a:gd name="connsiteY23" fmla="*/ 148117 h 585693"/>
                  <a:gd name="connsiteX24" fmla="*/ 584301 w 608814"/>
                  <a:gd name="connsiteY24" fmla="*/ 148117 h 585693"/>
                  <a:gd name="connsiteX25" fmla="*/ 608814 w 608814"/>
                  <a:gd name="connsiteY25" fmla="*/ 172601 h 585693"/>
                  <a:gd name="connsiteX26" fmla="*/ 608814 w 608814"/>
                  <a:gd name="connsiteY26" fmla="*/ 561209 h 585693"/>
                  <a:gd name="connsiteX27" fmla="*/ 584301 w 608814"/>
                  <a:gd name="connsiteY27" fmla="*/ 585693 h 585693"/>
                  <a:gd name="connsiteX28" fmla="*/ 521177 w 608814"/>
                  <a:gd name="connsiteY28" fmla="*/ 585693 h 585693"/>
                  <a:gd name="connsiteX29" fmla="*/ 496756 w 608814"/>
                  <a:gd name="connsiteY29" fmla="*/ 561209 h 585693"/>
                  <a:gd name="connsiteX30" fmla="*/ 496756 w 608814"/>
                  <a:gd name="connsiteY30" fmla="*/ 172601 h 585693"/>
                  <a:gd name="connsiteX31" fmla="*/ 521177 w 608814"/>
                  <a:gd name="connsiteY31" fmla="*/ 148117 h 585693"/>
                  <a:gd name="connsiteX32" fmla="*/ 116229 w 608814"/>
                  <a:gd name="connsiteY32" fmla="*/ 131322 h 585693"/>
                  <a:gd name="connsiteX33" fmla="*/ 164246 w 608814"/>
                  <a:gd name="connsiteY33" fmla="*/ 131322 h 585693"/>
                  <a:gd name="connsiteX34" fmla="*/ 184061 w 608814"/>
                  <a:gd name="connsiteY34" fmla="*/ 151113 h 585693"/>
                  <a:gd name="connsiteX35" fmla="*/ 184061 w 608814"/>
                  <a:gd name="connsiteY35" fmla="*/ 171457 h 585693"/>
                  <a:gd name="connsiteX36" fmla="*/ 208669 w 608814"/>
                  <a:gd name="connsiteY36" fmla="*/ 186094 h 585693"/>
                  <a:gd name="connsiteX37" fmla="*/ 226641 w 608814"/>
                  <a:gd name="connsiteY37" fmla="*/ 175692 h 585693"/>
                  <a:gd name="connsiteX38" fmla="*/ 253737 w 608814"/>
                  <a:gd name="connsiteY38" fmla="*/ 182964 h 585693"/>
                  <a:gd name="connsiteX39" fmla="*/ 277792 w 608814"/>
                  <a:gd name="connsiteY39" fmla="*/ 224572 h 585693"/>
                  <a:gd name="connsiteX40" fmla="*/ 279727 w 608814"/>
                  <a:gd name="connsiteY40" fmla="*/ 239577 h 585693"/>
                  <a:gd name="connsiteX41" fmla="*/ 270511 w 608814"/>
                  <a:gd name="connsiteY41" fmla="*/ 251544 h 585693"/>
                  <a:gd name="connsiteX42" fmla="*/ 252355 w 608814"/>
                  <a:gd name="connsiteY42" fmla="*/ 262038 h 585693"/>
                  <a:gd name="connsiteX43" fmla="*/ 253829 w 608814"/>
                  <a:gd name="connsiteY43" fmla="*/ 276122 h 585693"/>
                  <a:gd name="connsiteX44" fmla="*/ 252355 w 608814"/>
                  <a:gd name="connsiteY44" fmla="*/ 290206 h 585693"/>
                  <a:gd name="connsiteX45" fmla="*/ 270511 w 608814"/>
                  <a:gd name="connsiteY45" fmla="*/ 300700 h 585693"/>
                  <a:gd name="connsiteX46" fmla="*/ 278714 w 608814"/>
                  <a:gd name="connsiteY46" fmla="*/ 325094 h 585693"/>
                  <a:gd name="connsiteX47" fmla="*/ 258253 w 608814"/>
                  <a:gd name="connsiteY47" fmla="*/ 321136 h 585693"/>
                  <a:gd name="connsiteX48" fmla="*/ 195858 w 608814"/>
                  <a:gd name="connsiteY48" fmla="*/ 321136 h 585693"/>
                  <a:gd name="connsiteX49" fmla="*/ 212171 w 608814"/>
                  <a:gd name="connsiteY49" fmla="*/ 276122 h 585693"/>
                  <a:gd name="connsiteX50" fmla="*/ 140191 w 608814"/>
                  <a:gd name="connsiteY50" fmla="*/ 204320 h 585693"/>
                  <a:gd name="connsiteX51" fmla="*/ 68304 w 608814"/>
                  <a:gd name="connsiteY51" fmla="*/ 276122 h 585693"/>
                  <a:gd name="connsiteX52" fmla="*/ 140191 w 608814"/>
                  <a:gd name="connsiteY52" fmla="*/ 348016 h 585693"/>
                  <a:gd name="connsiteX53" fmla="*/ 148486 w 608814"/>
                  <a:gd name="connsiteY53" fmla="*/ 347095 h 585693"/>
                  <a:gd name="connsiteX54" fmla="*/ 140099 w 608814"/>
                  <a:gd name="connsiteY54" fmla="*/ 376000 h 585693"/>
                  <a:gd name="connsiteX55" fmla="*/ 140099 w 608814"/>
                  <a:gd name="connsiteY55" fmla="*/ 420922 h 585693"/>
                  <a:gd name="connsiteX56" fmla="*/ 116229 w 608814"/>
                  <a:gd name="connsiteY56" fmla="*/ 420922 h 585693"/>
                  <a:gd name="connsiteX57" fmla="*/ 96413 w 608814"/>
                  <a:gd name="connsiteY57" fmla="*/ 401131 h 585693"/>
                  <a:gd name="connsiteX58" fmla="*/ 96413 w 608814"/>
                  <a:gd name="connsiteY58" fmla="*/ 380787 h 585693"/>
                  <a:gd name="connsiteX59" fmla="*/ 71806 w 608814"/>
                  <a:gd name="connsiteY59" fmla="*/ 366150 h 585693"/>
                  <a:gd name="connsiteX60" fmla="*/ 53742 w 608814"/>
                  <a:gd name="connsiteY60" fmla="*/ 376552 h 585693"/>
                  <a:gd name="connsiteX61" fmla="*/ 38719 w 608814"/>
                  <a:gd name="connsiteY61" fmla="*/ 378577 h 585693"/>
                  <a:gd name="connsiteX62" fmla="*/ 26738 w 608814"/>
                  <a:gd name="connsiteY62" fmla="*/ 369372 h 585693"/>
                  <a:gd name="connsiteX63" fmla="*/ 2683 w 608814"/>
                  <a:gd name="connsiteY63" fmla="*/ 327764 h 585693"/>
                  <a:gd name="connsiteX64" fmla="*/ 9872 w 608814"/>
                  <a:gd name="connsiteY64" fmla="*/ 300700 h 585693"/>
                  <a:gd name="connsiteX65" fmla="*/ 28120 w 608814"/>
                  <a:gd name="connsiteY65" fmla="*/ 290206 h 585693"/>
                  <a:gd name="connsiteX66" fmla="*/ 26645 w 608814"/>
                  <a:gd name="connsiteY66" fmla="*/ 276122 h 585693"/>
                  <a:gd name="connsiteX67" fmla="*/ 28120 w 608814"/>
                  <a:gd name="connsiteY67" fmla="*/ 262038 h 585693"/>
                  <a:gd name="connsiteX68" fmla="*/ 9872 w 608814"/>
                  <a:gd name="connsiteY68" fmla="*/ 251544 h 585693"/>
                  <a:gd name="connsiteX69" fmla="*/ 2683 w 608814"/>
                  <a:gd name="connsiteY69" fmla="*/ 224572 h 585693"/>
                  <a:gd name="connsiteX70" fmla="*/ 26738 w 608814"/>
                  <a:gd name="connsiteY70" fmla="*/ 182964 h 585693"/>
                  <a:gd name="connsiteX71" fmla="*/ 38719 w 608814"/>
                  <a:gd name="connsiteY71" fmla="*/ 173759 h 585693"/>
                  <a:gd name="connsiteX72" fmla="*/ 53742 w 608814"/>
                  <a:gd name="connsiteY72" fmla="*/ 175692 h 585693"/>
                  <a:gd name="connsiteX73" fmla="*/ 71806 w 608814"/>
                  <a:gd name="connsiteY73" fmla="*/ 186094 h 585693"/>
                  <a:gd name="connsiteX74" fmla="*/ 96413 w 608814"/>
                  <a:gd name="connsiteY74" fmla="*/ 171457 h 585693"/>
                  <a:gd name="connsiteX75" fmla="*/ 96413 w 608814"/>
                  <a:gd name="connsiteY75" fmla="*/ 151113 h 585693"/>
                  <a:gd name="connsiteX76" fmla="*/ 116229 w 608814"/>
                  <a:gd name="connsiteY76" fmla="*/ 131322 h 585693"/>
                  <a:gd name="connsiteX77" fmla="*/ 445756 w 608814"/>
                  <a:gd name="connsiteY77" fmla="*/ 83476 h 585693"/>
                  <a:gd name="connsiteX78" fmla="*/ 414140 w 608814"/>
                  <a:gd name="connsiteY78" fmla="*/ 115044 h 585693"/>
                  <a:gd name="connsiteX79" fmla="*/ 445756 w 608814"/>
                  <a:gd name="connsiteY79" fmla="*/ 146520 h 585693"/>
                  <a:gd name="connsiteX80" fmla="*/ 477371 w 608814"/>
                  <a:gd name="connsiteY80" fmla="*/ 115044 h 585693"/>
                  <a:gd name="connsiteX81" fmla="*/ 445756 w 608814"/>
                  <a:gd name="connsiteY81" fmla="*/ 83476 h 585693"/>
                  <a:gd name="connsiteX82" fmla="*/ 426676 w 608814"/>
                  <a:gd name="connsiteY82" fmla="*/ 0 h 585693"/>
                  <a:gd name="connsiteX83" fmla="*/ 464835 w 608814"/>
                  <a:gd name="connsiteY83" fmla="*/ 0 h 585693"/>
                  <a:gd name="connsiteX84" fmla="*/ 480597 w 608814"/>
                  <a:gd name="connsiteY84" fmla="*/ 15738 h 585693"/>
                  <a:gd name="connsiteX85" fmla="*/ 480597 w 608814"/>
                  <a:gd name="connsiteY85" fmla="*/ 31936 h 585693"/>
                  <a:gd name="connsiteX86" fmla="*/ 500138 w 608814"/>
                  <a:gd name="connsiteY86" fmla="*/ 43533 h 585693"/>
                  <a:gd name="connsiteX87" fmla="*/ 514425 w 608814"/>
                  <a:gd name="connsiteY87" fmla="*/ 35249 h 585693"/>
                  <a:gd name="connsiteX88" fmla="*/ 535901 w 608814"/>
                  <a:gd name="connsiteY88" fmla="*/ 40956 h 585693"/>
                  <a:gd name="connsiteX89" fmla="*/ 554981 w 608814"/>
                  <a:gd name="connsiteY89" fmla="*/ 73996 h 585693"/>
                  <a:gd name="connsiteX90" fmla="*/ 556640 w 608814"/>
                  <a:gd name="connsiteY90" fmla="*/ 85961 h 585693"/>
                  <a:gd name="connsiteX91" fmla="*/ 549266 w 608814"/>
                  <a:gd name="connsiteY91" fmla="*/ 95440 h 585693"/>
                  <a:gd name="connsiteX92" fmla="*/ 534887 w 608814"/>
                  <a:gd name="connsiteY92" fmla="*/ 103815 h 585693"/>
                  <a:gd name="connsiteX93" fmla="*/ 535993 w 608814"/>
                  <a:gd name="connsiteY93" fmla="*/ 115044 h 585693"/>
                  <a:gd name="connsiteX94" fmla="*/ 535717 w 608814"/>
                  <a:gd name="connsiteY94" fmla="*/ 117621 h 585693"/>
                  <a:gd name="connsiteX95" fmla="*/ 521153 w 608814"/>
                  <a:gd name="connsiteY95" fmla="*/ 117621 h 585693"/>
                  <a:gd name="connsiteX96" fmla="*/ 466126 w 608814"/>
                  <a:gd name="connsiteY96" fmla="*/ 172565 h 585693"/>
                  <a:gd name="connsiteX97" fmla="*/ 466126 w 608814"/>
                  <a:gd name="connsiteY97" fmla="*/ 229719 h 585693"/>
                  <a:gd name="connsiteX98" fmla="*/ 466126 w 608814"/>
                  <a:gd name="connsiteY98" fmla="*/ 242604 h 585693"/>
                  <a:gd name="connsiteX99" fmla="*/ 453590 w 608814"/>
                  <a:gd name="connsiteY99" fmla="*/ 229995 h 585693"/>
                  <a:gd name="connsiteX100" fmla="*/ 421330 w 608814"/>
                  <a:gd name="connsiteY100" fmla="*/ 219319 h 585693"/>
                  <a:gd name="connsiteX101" fmla="*/ 411928 w 608814"/>
                  <a:gd name="connsiteY101" fmla="*/ 219319 h 585693"/>
                  <a:gd name="connsiteX102" fmla="*/ 410914 w 608814"/>
                  <a:gd name="connsiteY102" fmla="*/ 214257 h 585693"/>
                  <a:gd name="connsiteX103" fmla="*/ 410914 w 608814"/>
                  <a:gd name="connsiteY103" fmla="*/ 198059 h 585693"/>
                  <a:gd name="connsiteX104" fmla="*/ 391373 w 608814"/>
                  <a:gd name="connsiteY104" fmla="*/ 186463 h 585693"/>
                  <a:gd name="connsiteX105" fmla="*/ 377086 w 608814"/>
                  <a:gd name="connsiteY105" fmla="*/ 194746 h 585693"/>
                  <a:gd name="connsiteX106" fmla="*/ 365104 w 608814"/>
                  <a:gd name="connsiteY106" fmla="*/ 196310 h 585693"/>
                  <a:gd name="connsiteX107" fmla="*/ 355610 w 608814"/>
                  <a:gd name="connsiteY107" fmla="*/ 189040 h 585693"/>
                  <a:gd name="connsiteX108" fmla="*/ 336530 w 608814"/>
                  <a:gd name="connsiteY108" fmla="*/ 155999 h 585693"/>
                  <a:gd name="connsiteX109" fmla="*/ 342245 w 608814"/>
                  <a:gd name="connsiteY109" fmla="*/ 134463 h 585693"/>
                  <a:gd name="connsiteX110" fmla="*/ 356716 w 608814"/>
                  <a:gd name="connsiteY110" fmla="*/ 126180 h 585693"/>
                  <a:gd name="connsiteX111" fmla="*/ 355518 w 608814"/>
                  <a:gd name="connsiteY111" fmla="*/ 115044 h 585693"/>
                  <a:gd name="connsiteX112" fmla="*/ 356716 w 608814"/>
                  <a:gd name="connsiteY112" fmla="*/ 103815 h 585693"/>
                  <a:gd name="connsiteX113" fmla="*/ 342245 w 608814"/>
                  <a:gd name="connsiteY113" fmla="*/ 95440 h 585693"/>
                  <a:gd name="connsiteX114" fmla="*/ 336530 w 608814"/>
                  <a:gd name="connsiteY114" fmla="*/ 73996 h 585693"/>
                  <a:gd name="connsiteX115" fmla="*/ 355610 w 608814"/>
                  <a:gd name="connsiteY115" fmla="*/ 40956 h 585693"/>
                  <a:gd name="connsiteX116" fmla="*/ 365104 w 608814"/>
                  <a:gd name="connsiteY116" fmla="*/ 33685 h 585693"/>
                  <a:gd name="connsiteX117" fmla="*/ 377086 w 608814"/>
                  <a:gd name="connsiteY117" fmla="*/ 35249 h 585693"/>
                  <a:gd name="connsiteX118" fmla="*/ 391373 w 608814"/>
                  <a:gd name="connsiteY118" fmla="*/ 43533 h 585693"/>
                  <a:gd name="connsiteX119" fmla="*/ 410914 w 608814"/>
                  <a:gd name="connsiteY119" fmla="*/ 31936 h 585693"/>
                  <a:gd name="connsiteX120" fmla="*/ 410914 w 608814"/>
                  <a:gd name="connsiteY120" fmla="*/ 15738 h 585693"/>
                  <a:gd name="connsiteX121" fmla="*/ 426676 w 608814"/>
                  <a:gd name="connsiteY121" fmla="*/ 0 h 58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608814" h="585693">
                    <a:moveTo>
                      <a:pt x="195114" y="351627"/>
                    </a:moveTo>
                    <a:lnTo>
                      <a:pt x="258290" y="351627"/>
                    </a:lnTo>
                    <a:cubicBezTo>
                      <a:pt x="271848" y="351627"/>
                      <a:pt x="282731" y="362580"/>
                      <a:pt x="282731" y="376018"/>
                    </a:cubicBezTo>
                    <a:lnTo>
                      <a:pt x="282731" y="561210"/>
                    </a:lnTo>
                    <a:cubicBezTo>
                      <a:pt x="282731" y="574740"/>
                      <a:pt x="271848" y="585693"/>
                      <a:pt x="258290" y="585693"/>
                    </a:cubicBezTo>
                    <a:lnTo>
                      <a:pt x="195114" y="585693"/>
                    </a:lnTo>
                    <a:cubicBezTo>
                      <a:pt x="181556" y="585693"/>
                      <a:pt x="170673" y="574740"/>
                      <a:pt x="170673" y="561210"/>
                    </a:cubicBezTo>
                    <a:lnTo>
                      <a:pt x="170673" y="376018"/>
                    </a:lnTo>
                    <a:cubicBezTo>
                      <a:pt x="170673" y="362580"/>
                      <a:pt x="181556" y="351627"/>
                      <a:pt x="195114" y="351627"/>
                    </a:cubicBezTo>
                    <a:close/>
                    <a:moveTo>
                      <a:pt x="358100" y="249872"/>
                    </a:moveTo>
                    <a:lnTo>
                      <a:pt x="421316" y="249872"/>
                    </a:lnTo>
                    <a:cubicBezTo>
                      <a:pt x="434771" y="249872"/>
                      <a:pt x="445737" y="260735"/>
                      <a:pt x="445737" y="274267"/>
                    </a:cubicBezTo>
                    <a:lnTo>
                      <a:pt x="445737" y="561206"/>
                    </a:lnTo>
                    <a:cubicBezTo>
                      <a:pt x="445737" y="574738"/>
                      <a:pt x="434771" y="585693"/>
                      <a:pt x="421316" y="585693"/>
                    </a:cubicBezTo>
                    <a:lnTo>
                      <a:pt x="358100" y="585693"/>
                    </a:lnTo>
                    <a:cubicBezTo>
                      <a:pt x="344645" y="585693"/>
                      <a:pt x="333679" y="574738"/>
                      <a:pt x="333679" y="561206"/>
                    </a:cubicBezTo>
                    <a:lnTo>
                      <a:pt x="333679" y="274267"/>
                    </a:lnTo>
                    <a:cubicBezTo>
                      <a:pt x="333679" y="260735"/>
                      <a:pt x="344645" y="249872"/>
                      <a:pt x="358100" y="249872"/>
                    </a:cubicBezTo>
                    <a:close/>
                    <a:moveTo>
                      <a:pt x="140260" y="224680"/>
                    </a:moveTo>
                    <a:cubicBezTo>
                      <a:pt x="168749" y="224680"/>
                      <a:pt x="191844" y="247711"/>
                      <a:pt x="191844" y="276122"/>
                    </a:cubicBezTo>
                    <a:cubicBezTo>
                      <a:pt x="191844" y="304533"/>
                      <a:pt x="168749" y="327564"/>
                      <a:pt x="140260" y="327564"/>
                    </a:cubicBezTo>
                    <a:cubicBezTo>
                      <a:pt x="111771" y="327564"/>
                      <a:pt x="88676" y="304533"/>
                      <a:pt x="88676" y="276122"/>
                    </a:cubicBezTo>
                    <a:cubicBezTo>
                      <a:pt x="88676" y="247711"/>
                      <a:pt x="111771" y="224680"/>
                      <a:pt x="140260" y="224680"/>
                    </a:cubicBezTo>
                    <a:close/>
                    <a:moveTo>
                      <a:pt x="521177" y="148117"/>
                    </a:moveTo>
                    <a:lnTo>
                      <a:pt x="584301" y="148117"/>
                    </a:lnTo>
                    <a:cubicBezTo>
                      <a:pt x="597848" y="148117"/>
                      <a:pt x="608814" y="159070"/>
                      <a:pt x="608814" y="172601"/>
                    </a:cubicBezTo>
                    <a:lnTo>
                      <a:pt x="608814" y="561209"/>
                    </a:lnTo>
                    <a:cubicBezTo>
                      <a:pt x="608814" y="574740"/>
                      <a:pt x="597848" y="585693"/>
                      <a:pt x="584301" y="585693"/>
                    </a:cubicBezTo>
                    <a:lnTo>
                      <a:pt x="521177" y="585693"/>
                    </a:lnTo>
                    <a:cubicBezTo>
                      <a:pt x="507722" y="585693"/>
                      <a:pt x="496756" y="574740"/>
                      <a:pt x="496756" y="561209"/>
                    </a:cubicBezTo>
                    <a:lnTo>
                      <a:pt x="496756" y="172601"/>
                    </a:lnTo>
                    <a:cubicBezTo>
                      <a:pt x="496756" y="159070"/>
                      <a:pt x="507722" y="148117"/>
                      <a:pt x="521177" y="148117"/>
                    </a:cubicBezTo>
                    <a:close/>
                    <a:moveTo>
                      <a:pt x="116229" y="131322"/>
                    </a:moveTo>
                    <a:lnTo>
                      <a:pt x="164246" y="131322"/>
                    </a:lnTo>
                    <a:cubicBezTo>
                      <a:pt x="175214" y="131322"/>
                      <a:pt x="184061" y="140159"/>
                      <a:pt x="184061" y="151113"/>
                    </a:cubicBezTo>
                    <a:lnTo>
                      <a:pt x="184061" y="171457"/>
                    </a:lnTo>
                    <a:cubicBezTo>
                      <a:pt x="193001" y="175231"/>
                      <a:pt x="201019" y="180386"/>
                      <a:pt x="208669" y="186094"/>
                    </a:cubicBezTo>
                    <a:lnTo>
                      <a:pt x="226641" y="175692"/>
                    </a:lnTo>
                    <a:cubicBezTo>
                      <a:pt x="236134" y="170261"/>
                      <a:pt x="248300" y="173482"/>
                      <a:pt x="253737" y="182964"/>
                    </a:cubicBezTo>
                    <a:lnTo>
                      <a:pt x="277792" y="224572"/>
                    </a:lnTo>
                    <a:cubicBezTo>
                      <a:pt x="280465" y="229083"/>
                      <a:pt x="281110" y="234514"/>
                      <a:pt x="279727" y="239577"/>
                    </a:cubicBezTo>
                    <a:cubicBezTo>
                      <a:pt x="278437" y="244640"/>
                      <a:pt x="275119" y="248966"/>
                      <a:pt x="270511" y="251544"/>
                    </a:cubicBezTo>
                    <a:lnTo>
                      <a:pt x="252355" y="262038"/>
                    </a:lnTo>
                    <a:cubicBezTo>
                      <a:pt x="253000" y="266733"/>
                      <a:pt x="253829" y="271335"/>
                      <a:pt x="253829" y="276122"/>
                    </a:cubicBezTo>
                    <a:cubicBezTo>
                      <a:pt x="253829" y="281001"/>
                      <a:pt x="253000" y="285604"/>
                      <a:pt x="252355" y="290206"/>
                    </a:cubicBezTo>
                    <a:lnTo>
                      <a:pt x="270511" y="300700"/>
                    </a:lnTo>
                    <a:cubicBezTo>
                      <a:pt x="279174" y="305671"/>
                      <a:pt x="282308" y="316165"/>
                      <a:pt x="278714" y="325094"/>
                    </a:cubicBezTo>
                    <a:cubicBezTo>
                      <a:pt x="272354" y="322609"/>
                      <a:pt x="265442" y="321136"/>
                      <a:pt x="258253" y="321136"/>
                    </a:cubicBezTo>
                    <a:lnTo>
                      <a:pt x="195858" y="321136"/>
                    </a:lnTo>
                    <a:cubicBezTo>
                      <a:pt x="205904" y="308709"/>
                      <a:pt x="212171" y="293244"/>
                      <a:pt x="212171" y="276122"/>
                    </a:cubicBezTo>
                    <a:cubicBezTo>
                      <a:pt x="212171" y="236539"/>
                      <a:pt x="179914" y="204320"/>
                      <a:pt x="140191" y="204320"/>
                    </a:cubicBezTo>
                    <a:cubicBezTo>
                      <a:pt x="100561" y="204320"/>
                      <a:pt x="68304" y="236539"/>
                      <a:pt x="68304" y="276122"/>
                    </a:cubicBezTo>
                    <a:cubicBezTo>
                      <a:pt x="68304" y="315797"/>
                      <a:pt x="100561" y="348016"/>
                      <a:pt x="140191" y="348016"/>
                    </a:cubicBezTo>
                    <a:cubicBezTo>
                      <a:pt x="143048" y="348016"/>
                      <a:pt x="145721" y="347463"/>
                      <a:pt x="148486" y="347095"/>
                    </a:cubicBezTo>
                    <a:cubicBezTo>
                      <a:pt x="143233" y="355564"/>
                      <a:pt x="140099" y="365414"/>
                      <a:pt x="140099" y="376000"/>
                    </a:cubicBezTo>
                    <a:lnTo>
                      <a:pt x="140099" y="420922"/>
                    </a:lnTo>
                    <a:lnTo>
                      <a:pt x="116229" y="420922"/>
                    </a:lnTo>
                    <a:cubicBezTo>
                      <a:pt x="105261" y="420922"/>
                      <a:pt x="96413" y="412085"/>
                      <a:pt x="96413" y="401131"/>
                    </a:cubicBezTo>
                    <a:lnTo>
                      <a:pt x="96413" y="380787"/>
                    </a:lnTo>
                    <a:cubicBezTo>
                      <a:pt x="87474" y="377013"/>
                      <a:pt x="79455" y="371950"/>
                      <a:pt x="71806" y="366150"/>
                    </a:cubicBezTo>
                    <a:lnTo>
                      <a:pt x="53742" y="376552"/>
                    </a:lnTo>
                    <a:cubicBezTo>
                      <a:pt x="49226" y="379222"/>
                      <a:pt x="43788" y="379866"/>
                      <a:pt x="38719" y="378577"/>
                    </a:cubicBezTo>
                    <a:cubicBezTo>
                      <a:pt x="33650" y="377197"/>
                      <a:pt x="29318" y="373883"/>
                      <a:pt x="26738" y="369372"/>
                    </a:cubicBezTo>
                    <a:lnTo>
                      <a:pt x="2683" y="327764"/>
                    </a:lnTo>
                    <a:cubicBezTo>
                      <a:pt x="-2847" y="318282"/>
                      <a:pt x="471" y="306131"/>
                      <a:pt x="9872" y="300700"/>
                    </a:cubicBezTo>
                    <a:lnTo>
                      <a:pt x="28120" y="290206"/>
                    </a:lnTo>
                    <a:cubicBezTo>
                      <a:pt x="27475" y="285604"/>
                      <a:pt x="26645" y="281001"/>
                      <a:pt x="26645" y="276122"/>
                    </a:cubicBezTo>
                    <a:cubicBezTo>
                      <a:pt x="26645" y="271335"/>
                      <a:pt x="27475" y="266733"/>
                      <a:pt x="28120" y="262038"/>
                    </a:cubicBezTo>
                    <a:lnTo>
                      <a:pt x="9872" y="251544"/>
                    </a:lnTo>
                    <a:cubicBezTo>
                      <a:pt x="471" y="246113"/>
                      <a:pt x="-2847" y="233962"/>
                      <a:pt x="2683" y="224572"/>
                    </a:cubicBezTo>
                    <a:lnTo>
                      <a:pt x="26738" y="182964"/>
                    </a:lnTo>
                    <a:cubicBezTo>
                      <a:pt x="29318" y="178361"/>
                      <a:pt x="33650" y="175139"/>
                      <a:pt x="38719" y="173759"/>
                    </a:cubicBezTo>
                    <a:cubicBezTo>
                      <a:pt x="43788" y="172378"/>
                      <a:pt x="49226" y="173114"/>
                      <a:pt x="53742" y="175692"/>
                    </a:cubicBezTo>
                    <a:lnTo>
                      <a:pt x="71806" y="186094"/>
                    </a:lnTo>
                    <a:cubicBezTo>
                      <a:pt x="79455" y="180386"/>
                      <a:pt x="87474" y="175231"/>
                      <a:pt x="96413" y="171457"/>
                    </a:cubicBezTo>
                    <a:lnTo>
                      <a:pt x="96413" y="151113"/>
                    </a:lnTo>
                    <a:cubicBezTo>
                      <a:pt x="96413" y="140159"/>
                      <a:pt x="105261" y="131322"/>
                      <a:pt x="116229" y="131322"/>
                    </a:cubicBezTo>
                    <a:close/>
                    <a:moveTo>
                      <a:pt x="445756" y="83476"/>
                    </a:moveTo>
                    <a:cubicBezTo>
                      <a:pt x="428335" y="83476"/>
                      <a:pt x="414140" y="97557"/>
                      <a:pt x="414140" y="115044"/>
                    </a:cubicBezTo>
                    <a:cubicBezTo>
                      <a:pt x="414140" y="132438"/>
                      <a:pt x="428335" y="146520"/>
                      <a:pt x="445756" y="146520"/>
                    </a:cubicBezTo>
                    <a:cubicBezTo>
                      <a:pt x="463176" y="146520"/>
                      <a:pt x="477371" y="132438"/>
                      <a:pt x="477371" y="115044"/>
                    </a:cubicBezTo>
                    <a:cubicBezTo>
                      <a:pt x="477371" y="97557"/>
                      <a:pt x="463176" y="83476"/>
                      <a:pt x="445756" y="83476"/>
                    </a:cubicBezTo>
                    <a:close/>
                    <a:moveTo>
                      <a:pt x="426676" y="0"/>
                    </a:moveTo>
                    <a:lnTo>
                      <a:pt x="464835" y="0"/>
                    </a:lnTo>
                    <a:cubicBezTo>
                      <a:pt x="473500" y="0"/>
                      <a:pt x="480597" y="7087"/>
                      <a:pt x="480597" y="15738"/>
                    </a:cubicBezTo>
                    <a:lnTo>
                      <a:pt x="480597" y="31936"/>
                    </a:lnTo>
                    <a:cubicBezTo>
                      <a:pt x="487694" y="34881"/>
                      <a:pt x="494054" y="38931"/>
                      <a:pt x="500138" y="43533"/>
                    </a:cubicBezTo>
                    <a:lnTo>
                      <a:pt x="514425" y="35249"/>
                    </a:lnTo>
                    <a:cubicBezTo>
                      <a:pt x="521983" y="30924"/>
                      <a:pt x="531569" y="33501"/>
                      <a:pt x="535901" y="40956"/>
                    </a:cubicBezTo>
                    <a:lnTo>
                      <a:pt x="554981" y="73996"/>
                    </a:lnTo>
                    <a:cubicBezTo>
                      <a:pt x="557101" y="77585"/>
                      <a:pt x="557654" y="81911"/>
                      <a:pt x="556640" y="85961"/>
                    </a:cubicBezTo>
                    <a:cubicBezTo>
                      <a:pt x="555534" y="89918"/>
                      <a:pt x="552861" y="93415"/>
                      <a:pt x="549266" y="95440"/>
                    </a:cubicBezTo>
                    <a:lnTo>
                      <a:pt x="534887" y="103815"/>
                    </a:lnTo>
                    <a:cubicBezTo>
                      <a:pt x="535348" y="107497"/>
                      <a:pt x="535993" y="111178"/>
                      <a:pt x="535993" y="115044"/>
                    </a:cubicBezTo>
                    <a:cubicBezTo>
                      <a:pt x="535993" y="115872"/>
                      <a:pt x="535809" y="116700"/>
                      <a:pt x="535717" y="117621"/>
                    </a:cubicBezTo>
                    <a:lnTo>
                      <a:pt x="521153" y="117621"/>
                    </a:lnTo>
                    <a:cubicBezTo>
                      <a:pt x="490828" y="117621"/>
                      <a:pt x="466126" y="142286"/>
                      <a:pt x="466126" y="172565"/>
                    </a:cubicBezTo>
                    <a:lnTo>
                      <a:pt x="466126" y="229719"/>
                    </a:lnTo>
                    <a:lnTo>
                      <a:pt x="466126" y="242604"/>
                    </a:lnTo>
                    <a:cubicBezTo>
                      <a:pt x="462715" y="237726"/>
                      <a:pt x="458383" y="233493"/>
                      <a:pt x="453590" y="229995"/>
                    </a:cubicBezTo>
                    <a:cubicBezTo>
                      <a:pt x="444465" y="223369"/>
                      <a:pt x="433404" y="219319"/>
                      <a:pt x="421330" y="219319"/>
                    </a:cubicBezTo>
                    <a:lnTo>
                      <a:pt x="411928" y="219319"/>
                    </a:lnTo>
                    <a:cubicBezTo>
                      <a:pt x="411375" y="217755"/>
                      <a:pt x="410914" y="216098"/>
                      <a:pt x="410914" y="214257"/>
                    </a:cubicBezTo>
                    <a:lnTo>
                      <a:pt x="410914" y="198059"/>
                    </a:lnTo>
                    <a:cubicBezTo>
                      <a:pt x="403817" y="195114"/>
                      <a:pt x="397457" y="191064"/>
                      <a:pt x="391373" y="186463"/>
                    </a:cubicBezTo>
                    <a:lnTo>
                      <a:pt x="377086" y="194746"/>
                    </a:lnTo>
                    <a:cubicBezTo>
                      <a:pt x="373492" y="196863"/>
                      <a:pt x="369160" y="197415"/>
                      <a:pt x="365104" y="196310"/>
                    </a:cubicBezTo>
                    <a:cubicBezTo>
                      <a:pt x="361140" y="195206"/>
                      <a:pt x="357638" y="192629"/>
                      <a:pt x="355610" y="189040"/>
                    </a:cubicBezTo>
                    <a:lnTo>
                      <a:pt x="336530" y="155999"/>
                    </a:lnTo>
                    <a:cubicBezTo>
                      <a:pt x="332198" y="148452"/>
                      <a:pt x="334687" y="138881"/>
                      <a:pt x="342245" y="134463"/>
                    </a:cubicBezTo>
                    <a:lnTo>
                      <a:pt x="356716" y="126180"/>
                    </a:lnTo>
                    <a:cubicBezTo>
                      <a:pt x="356163" y="122498"/>
                      <a:pt x="355518" y="118817"/>
                      <a:pt x="355518" y="115044"/>
                    </a:cubicBezTo>
                    <a:cubicBezTo>
                      <a:pt x="355518" y="111178"/>
                      <a:pt x="356163" y="107497"/>
                      <a:pt x="356716" y="103815"/>
                    </a:cubicBezTo>
                    <a:lnTo>
                      <a:pt x="342245" y="95440"/>
                    </a:lnTo>
                    <a:cubicBezTo>
                      <a:pt x="334687" y="91115"/>
                      <a:pt x="332198" y="81543"/>
                      <a:pt x="336530" y="73996"/>
                    </a:cubicBezTo>
                    <a:lnTo>
                      <a:pt x="355610" y="40956"/>
                    </a:lnTo>
                    <a:cubicBezTo>
                      <a:pt x="357638" y="37366"/>
                      <a:pt x="361140" y="34789"/>
                      <a:pt x="365104" y="33685"/>
                    </a:cubicBezTo>
                    <a:cubicBezTo>
                      <a:pt x="369160" y="32580"/>
                      <a:pt x="373492" y="33133"/>
                      <a:pt x="377086" y="35249"/>
                    </a:cubicBezTo>
                    <a:lnTo>
                      <a:pt x="391373" y="43533"/>
                    </a:lnTo>
                    <a:cubicBezTo>
                      <a:pt x="397457" y="38931"/>
                      <a:pt x="403817" y="34881"/>
                      <a:pt x="410914" y="31936"/>
                    </a:cubicBezTo>
                    <a:lnTo>
                      <a:pt x="410914" y="15738"/>
                    </a:lnTo>
                    <a:cubicBezTo>
                      <a:pt x="410914" y="7087"/>
                      <a:pt x="418011" y="0"/>
                      <a:pt x="42667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endParaRPr lang="zh-CN" altLang="en-US"/>
              </a:p>
            </p:txBody>
          </p:sp>
          <p:sp>
            <p:nvSpPr>
              <p:cNvPr id="21" name="椭圆 20">
                <a:extLst>
                  <a:ext uri="{FF2B5EF4-FFF2-40B4-BE49-F238E27FC236}">
                    <a16:creationId xmlns:a16="http://schemas.microsoft.com/office/drawing/2014/main" id="{75D4BDA4-88A8-4520-A869-743810AE7675}"/>
                  </a:ext>
                </a:extLst>
              </p:cNvPr>
              <p:cNvSpPr/>
              <p:nvPr/>
            </p:nvSpPr>
            <p:spPr>
              <a:xfrm>
                <a:off x="10065135" y="2349787"/>
                <a:ext cx="352208" cy="352212"/>
              </a:xfrm>
              <a:prstGeom prst="ellipse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r>
                  <a:rPr lang="en-US" altLang="zh-CN" sz="1600" b="1" dirty="0">
                    <a:solidFill>
                      <a:schemeClr val="bg1"/>
                    </a:solidFill>
                  </a:rPr>
                  <a:t>2</a:t>
                </a:r>
                <a:endParaRPr lang="zh-CN" altLang="en-US" sz="1600" b="1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11" name="直接连接符 10">
              <a:extLst>
                <a:ext uri="{FF2B5EF4-FFF2-40B4-BE49-F238E27FC236}">
                  <a16:creationId xmlns:a16="http://schemas.microsoft.com/office/drawing/2014/main" id="{1DB14CE9-6E4F-4B46-B5FB-2EEEACAB5645}"/>
                </a:ext>
              </a:extLst>
            </p:cNvPr>
            <p:cNvCxnSpPr>
              <a:stCxn id="7" idx="6"/>
              <a:endCxn id="21" idx="2"/>
            </p:cNvCxnSpPr>
            <p:nvPr/>
          </p:nvCxnSpPr>
          <p:spPr>
            <a:xfrm>
              <a:off x="7395586" y="2731805"/>
              <a:ext cx="191547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stealth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2E2ACD25-8989-4C94-839D-12DD7EC19D53}"/>
                </a:ext>
              </a:extLst>
            </p:cNvPr>
            <p:cNvGrpSpPr/>
            <p:nvPr/>
          </p:nvGrpSpPr>
          <p:grpSpPr>
            <a:xfrm>
              <a:off x="5188124" y="3452160"/>
              <a:ext cx="2875945" cy="1029692"/>
              <a:chOff x="5188124" y="3246248"/>
              <a:chExt cx="2875945" cy="1029692"/>
            </a:xfrm>
          </p:grpSpPr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8A111770-3721-4388-9D7E-432C95B2E837}"/>
                  </a:ext>
                </a:extLst>
              </p:cNvPr>
              <p:cNvSpPr/>
              <p:nvPr/>
            </p:nvSpPr>
            <p:spPr bwMode="auto">
              <a:xfrm>
                <a:off x="5188124" y="3665483"/>
                <a:ext cx="2875945" cy="61045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tabLst>
                    <a:tab pos="228594" algn="l"/>
                  </a:tabLst>
                  <a:defRPr/>
                </a:pPr>
                <a:r>
                  <a:rPr lang="en-US" altLang="zh-CN" sz="800" dirty="0"/>
                  <a:t>Supporting text here.</a:t>
                </a:r>
              </a:p>
              <a:p>
                <a:pPr algn="ctr">
                  <a:lnSpc>
                    <a:spcPct val="150000"/>
                  </a:lnSpc>
                  <a:tabLst>
                    <a:tab pos="228594" algn="l"/>
                  </a:tabLst>
                  <a:defRPr/>
                </a:pPr>
                <a:r>
                  <a:rPr lang="en-US" altLang="zh-CN" sz="800" dirty="0"/>
                  <a:t>Copy paste fonts. Choose </a:t>
                </a:r>
                <a:r>
                  <a:rPr lang="en-US" altLang="zh-CN" sz="800"/>
                  <a:t>the o</a:t>
                </a:r>
                <a:r>
                  <a:rPr lang="en-US" altLang="zh-CN" sz="100"/>
                  <a:t> </a:t>
                </a:r>
                <a:r>
                  <a:rPr lang="en-US" altLang="zh-CN" sz="800"/>
                  <a:t>nly </a:t>
                </a:r>
                <a:r>
                  <a:rPr lang="en-US" altLang="zh-CN" sz="800" dirty="0"/>
                  <a:t>option to retain text.</a:t>
                </a:r>
              </a:p>
            </p:txBody>
          </p:sp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2D6AB4AF-7370-4CBA-BC8A-96B7D6B558BF}"/>
                  </a:ext>
                </a:extLst>
              </p:cNvPr>
              <p:cNvSpPr txBox="1"/>
              <p:nvPr/>
            </p:nvSpPr>
            <p:spPr bwMode="auto">
              <a:xfrm>
                <a:off x="5188124" y="3246248"/>
                <a:ext cx="2875945" cy="4192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>
                <a:normAutofit/>
              </a:bodyPr>
              <a:lstStyle>
                <a:defPPr>
                  <a:defRPr lang="zh-CN"/>
                </a:defPPr>
                <a:lvl1pPr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  <a:defRPr b="1">
                    <a:solidFill>
                      <a:schemeClr val="accent2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dirty="0"/>
                  <a:t>…</a:t>
                </a:r>
                <a:r>
                  <a:rPr lang="zh-CN" altLang="en-US" dirty="0"/>
                  <a:t>效益</a:t>
                </a:r>
                <a:endParaRPr lang="en-US" altLang="zh-CN" dirty="0"/>
              </a:p>
            </p:txBody>
          </p: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149CD509-6457-4FE7-AEE4-D23A8E4CE6B1}"/>
                </a:ext>
              </a:extLst>
            </p:cNvPr>
            <p:cNvGrpSpPr/>
            <p:nvPr/>
          </p:nvGrpSpPr>
          <p:grpSpPr>
            <a:xfrm>
              <a:off x="8659161" y="3452160"/>
              <a:ext cx="2875945" cy="1029692"/>
              <a:chOff x="5188124" y="3246248"/>
              <a:chExt cx="2875945" cy="1029692"/>
            </a:xfrm>
          </p:grpSpPr>
          <p:sp>
            <p:nvSpPr>
              <p:cNvPr id="15" name="矩形 14">
                <a:extLst>
                  <a:ext uri="{FF2B5EF4-FFF2-40B4-BE49-F238E27FC236}">
                    <a16:creationId xmlns:a16="http://schemas.microsoft.com/office/drawing/2014/main" id="{4E3A7BD8-632C-477B-A508-FABB223D942F}"/>
                  </a:ext>
                </a:extLst>
              </p:cNvPr>
              <p:cNvSpPr/>
              <p:nvPr/>
            </p:nvSpPr>
            <p:spPr bwMode="auto">
              <a:xfrm>
                <a:off x="5188124" y="3665483"/>
                <a:ext cx="2875945" cy="61045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tabLst>
                    <a:tab pos="228594" algn="l"/>
                  </a:tabLst>
                  <a:defRPr/>
                </a:pPr>
                <a:r>
                  <a:rPr lang="en-US" altLang="zh-CN" sz="800" dirty="0"/>
                  <a:t>Supporting text here.</a:t>
                </a:r>
              </a:p>
              <a:p>
                <a:pPr algn="ctr">
                  <a:lnSpc>
                    <a:spcPct val="150000"/>
                  </a:lnSpc>
                  <a:tabLst>
                    <a:tab pos="228594" algn="l"/>
                  </a:tabLst>
                  <a:defRPr/>
                </a:pPr>
                <a:r>
                  <a:rPr lang="en-US" altLang="zh-CN" sz="800" dirty="0"/>
                  <a:t>Copy paste fonts. Choose </a:t>
                </a:r>
                <a:r>
                  <a:rPr lang="en-US" altLang="zh-CN" sz="800"/>
                  <a:t>the o</a:t>
                </a:r>
                <a:r>
                  <a:rPr lang="en-US" altLang="zh-CN" sz="100"/>
                  <a:t> </a:t>
                </a:r>
                <a:r>
                  <a:rPr lang="en-US" altLang="zh-CN" sz="800"/>
                  <a:t>nly </a:t>
                </a:r>
                <a:r>
                  <a:rPr lang="en-US" altLang="zh-CN" sz="800" dirty="0"/>
                  <a:t>option to retain text.</a:t>
                </a:r>
              </a:p>
            </p:txBody>
          </p:sp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9E2348B4-61FF-4363-8868-E3245662848B}"/>
                  </a:ext>
                </a:extLst>
              </p:cNvPr>
              <p:cNvSpPr txBox="1"/>
              <p:nvPr/>
            </p:nvSpPr>
            <p:spPr bwMode="auto">
              <a:xfrm>
                <a:off x="5188124" y="3246248"/>
                <a:ext cx="2875945" cy="4192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>
                <a:normAutofit/>
              </a:bodyPr>
              <a:lstStyle>
                <a:defPPr>
                  <a:defRPr lang="zh-CN"/>
                </a:defPPr>
                <a:lvl1pPr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  <a:defRPr b="1">
                    <a:solidFill>
                      <a:schemeClr val="accent2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dirty="0">
                    <a:solidFill>
                      <a:srgbClr val="646464"/>
                    </a:solidFill>
                  </a:rPr>
                  <a:t>…</a:t>
                </a:r>
                <a:r>
                  <a:rPr lang="zh-CN" altLang="en-US" dirty="0">
                    <a:solidFill>
                      <a:srgbClr val="646464"/>
                    </a:solidFill>
                  </a:rPr>
                  <a:t>效益</a:t>
                </a:r>
                <a:endParaRPr lang="en-US" altLang="zh-CN" dirty="0">
                  <a:solidFill>
                    <a:srgbClr val="646464"/>
                  </a:solidFill>
                </a:endParaRPr>
              </a:p>
            </p:txBody>
          </p:sp>
        </p:grp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3E49E849-7095-41C9-B82E-49DFCEB0767D}"/>
                </a:ext>
              </a:extLst>
            </p:cNvPr>
            <p:cNvCxnSpPr/>
            <p:nvPr/>
          </p:nvCxnSpPr>
          <p:spPr>
            <a:xfrm>
              <a:off x="4656000" y="1123950"/>
              <a:ext cx="0" cy="501967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18473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2285CF37-99EB-44B4-A7F2-440093D65638}"/>
              </a:ext>
            </a:extLst>
          </p:cNvPr>
          <p:cNvGrpSpPr/>
          <p:nvPr/>
        </p:nvGrpSpPr>
        <p:grpSpPr>
          <a:xfrm>
            <a:off x="648038" y="1442249"/>
            <a:ext cx="9934281" cy="4272205"/>
            <a:chOff x="648038" y="1442249"/>
            <a:chExt cx="9934281" cy="4272205"/>
          </a:xfrm>
        </p:grpSpPr>
        <p:grpSp>
          <p:nvGrpSpPr>
            <p:cNvPr id="3" name="组合 2">
              <a:extLst>
                <a:ext uri="{FF2B5EF4-FFF2-40B4-BE49-F238E27FC236}">
                  <a16:creationId xmlns:a16="http://schemas.microsoft.com/office/drawing/2014/main" id="{FC5EC499-58B2-4E37-98E0-AA543FB2D47F}"/>
                </a:ext>
              </a:extLst>
            </p:cNvPr>
            <p:cNvGrpSpPr/>
            <p:nvPr/>
          </p:nvGrpSpPr>
          <p:grpSpPr>
            <a:xfrm>
              <a:off x="648038" y="1442249"/>
              <a:ext cx="4763886" cy="4162913"/>
              <a:chOff x="875420" y="1268760"/>
              <a:chExt cx="4763886" cy="4162913"/>
            </a:xfrm>
          </p:grpSpPr>
          <p:sp>
            <p:nvSpPr>
              <p:cNvPr id="20" name="直角三角形 19">
                <a:extLst>
                  <a:ext uri="{FF2B5EF4-FFF2-40B4-BE49-F238E27FC236}">
                    <a16:creationId xmlns:a16="http://schemas.microsoft.com/office/drawing/2014/main" id="{F1427B4D-3D0B-4642-B934-B5001D603A24}"/>
                  </a:ext>
                </a:extLst>
              </p:cNvPr>
              <p:cNvSpPr/>
              <p:nvPr/>
            </p:nvSpPr>
            <p:spPr bwMode="auto">
              <a:xfrm rot="610268">
                <a:off x="4451562" y="3522109"/>
                <a:ext cx="1187744" cy="1497020"/>
              </a:xfrm>
              <a:prstGeom prst="rtTriangle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等腰三角形 20">
                <a:extLst>
                  <a:ext uri="{FF2B5EF4-FFF2-40B4-BE49-F238E27FC236}">
                    <a16:creationId xmlns:a16="http://schemas.microsoft.com/office/drawing/2014/main" id="{F60833C4-9875-41F1-8AAB-BC6B38D5640D}"/>
                  </a:ext>
                </a:extLst>
              </p:cNvPr>
              <p:cNvSpPr/>
              <p:nvPr/>
            </p:nvSpPr>
            <p:spPr bwMode="auto">
              <a:xfrm rot="16200000">
                <a:off x="1999734" y="890718"/>
                <a:ext cx="1296144" cy="2052228"/>
              </a:xfrm>
              <a:prstGeom prst="triangle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BA62E38B-B2DA-432F-BD43-F76FB5FCF762}"/>
                  </a:ext>
                </a:extLst>
              </p:cNvPr>
              <p:cNvSpPr/>
              <p:nvPr/>
            </p:nvSpPr>
            <p:spPr bwMode="auto">
              <a:xfrm rot="3712223">
                <a:off x="1083375" y="1157220"/>
                <a:ext cx="4066498" cy="4482407"/>
              </a:xfrm>
              <a:custGeom>
                <a:avLst/>
                <a:gdLst>
                  <a:gd name="connsiteX0" fmla="*/ 0 w 4066498"/>
                  <a:gd name="connsiteY0" fmla="*/ 2863075 h 4482407"/>
                  <a:gd name="connsiteX1" fmla="*/ 1937533 w 4066498"/>
                  <a:gd name="connsiteY1" fmla="*/ 0 h 4482407"/>
                  <a:gd name="connsiteX2" fmla="*/ 4066498 w 4066498"/>
                  <a:gd name="connsiteY2" fmla="*/ 1138176 h 4482407"/>
                  <a:gd name="connsiteX3" fmla="*/ 3028971 w 4066498"/>
                  <a:gd name="connsiteY3" fmla="*/ 4482407 h 4482407"/>
                  <a:gd name="connsiteX4" fmla="*/ 0 w 4066498"/>
                  <a:gd name="connsiteY4" fmla="*/ 2863075 h 4482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66498" h="4482407">
                    <a:moveTo>
                      <a:pt x="0" y="2863075"/>
                    </a:moveTo>
                    <a:lnTo>
                      <a:pt x="1937533" y="0"/>
                    </a:lnTo>
                    <a:lnTo>
                      <a:pt x="4066498" y="1138176"/>
                    </a:lnTo>
                    <a:lnTo>
                      <a:pt x="3028971" y="4482407"/>
                    </a:lnTo>
                    <a:lnTo>
                      <a:pt x="0" y="2863075"/>
                    </a:lnTo>
                    <a:close/>
                  </a:path>
                </a:pathLst>
              </a:custGeom>
              <a:solidFill>
                <a:schemeClr val="accent2"/>
              </a:solidFill>
              <a:ln w="19050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4" name="矩形 3">
              <a:extLst>
                <a:ext uri="{FF2B5EF4-FFF2-40B4-BE49-F238E27FC236}">
                  <a16:creationId xmlns:a16="http://schemas.microsoft.com/office/drawing/2014/main" id="{5CB2E154-880B-4352-AA1E-D4268FA23DD3}"/>
                </a:ext>
              </a:extLst>
            </p:cNvPr>
            <p:cNvSpPr/>
            <p:nvPr/>
          </p:nvSpPr>
          <p:spPr>
            <a:xfrm>
              <a:off x="2304222" y="2528900"/>
              <a:ext cx="1384995" cy="1930463"/>
            </a:xfrm>
            <a:prstGeom prst="rect">
              <a:avLst/>
            </a:prstGeom>
          </p:spPr>
          <p:txBody>
            <a:bodyPr vert="eaVert" wrap="square">
              <a:normAutofit fontScale="47500" lnSpcReduction="20000"/>
            </a:bodyPr>
            <a:lstStyle/>
            <a:p>
              <a:pPr algn="r"/>
              <a:r>
                <a:rPr lang="zh-CN" altLang="en-US" sz="6000" b="1" dirty="0">
                  <a:solidFill>
                    <a:schemeClr val="bg1"/>
                  </a:solidFill>
                </a:rPr>
                <a:t>目录</a:t>
              </a:r>
              <a:br>
                <a:rPr lang="zh-CN" altLang="en-US" sz="6000" b="1" dirty="0">
                  <a:solidFill>
                    <a:schemeClr val="bg1"/>
                  </a:solidFill>
                </a:rPr>
              </a:br>
              <a:r>
                <a:rPr lang="en-US" altLang="zh-CN" sz="6000" b="1" dirty="0">
                  <a:solidFill>
                    <a:schemeClr val="bg1"/>
                  </a:solidFill>
                </a:rPr>
                <a:t>CONTENT</a:t>
              </a:r>
            </a:p>
          </p:txBody>
        </p:sp>
        <p:sp>
          <p:nvSpPr>
            <p:cNvPr id="5" name="菱形 4">
              <a:extLst>
                <a:ext uri="{FF2B5EF4-FFF2-40B4-BE49-F238E27FC236}">
                  <a16:creationId xmlns:a16="http://schemas.microsoft.com/office/drawing/2014/main" id="{47E46F41-3F75-47C7-BFC1-A3C256EC33E0}"/>
                </a:ext>
              </a:extLst>
            </p:cNvPr>
            <p:cNvSpPr/>
            <p:nvPr/>
          </p:nvSpPr>
          <p:spPr>
            <a:xfrm>
              <a:off x="6236451" y="5047466"/>
              <a:ext cx="624349" cy="624349"/>
            </a:xfrm>
            <a:prstGeom prst="diamond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normAutofit/>
            </a:bodyPr>
            <a:lstStyle/>
            <a:p>
              <a:pPr algn="ctr"/>
              <a:r>
                <a:rPr lang="en-US" altLang="zh-CN">
                  <a:solidFill>
                    <a:schemeClr val="bg1"/>
                  </a:solidFill>
                  <a:latin typeface="Impact" panose="020B0806030902050204" pitchFamily="34" charset="0"/>
                </a:rPr>
                <a:t>05</a:t>
              </a:r>
            </a:p>
          </p:txBody>
        </p:sp>
        <p:sp>
          <p:nvSpPr>
            <p:cNvPr id="6" name="菱形 5">
              <a:extLst>
                <a:ext uri="{FF2B5EF4-FFF2-40B4-BE49-F238E27FC236}">
                  <a16:creationId xmlns:a16="http://schemas.microsoft.com/office/drawing/2014/main" id="{B6070CDC-FAE6-4BC2-8C93-1E44F8518C34}"/>
                </a:ext>
              </a:extLst>
            </p:cNvPr>
            <p:cNvSpPr/>
            <p:nvPr/>
          </p:nvSpPr>
          <p:spPr>
            <a:xfrm>
              <a:off x="6241890" y="4168890"/>
              <a:ext cx="624349" cy="624349"/>
            </a:xfrm>
            <a:prstGeom prst="diamond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normAutofit/>
            </a:bodyPr>
            <a:lstStyle/>
            <a:p>
              <a:pPr algn="ctr"/>
              <a:r>
                <a:rPr lang="en-US" altLang="zh-CN">
                  <a:solidFill>
                    <a:schemeClr val="bg1"/>
                  </a:solidFill>
                  <a:latin typeface="Impact" panose="020B0806030902050204" pitchFamily="34" charset="0"/>
                </a:rPr>
                <a:t>04</a:t>
              </a:r>
            </a:p>
          </p:txBody>
        </p:sp>
        <p:sp>
          <p:nvSpPr>
            <p:cNvPr id="7" name="菱形 6">
              <a:extLst>
                <a:ext uri="{FF2B5EF4-FFF2-40B4-BE49-F238E27FC236}">
                  <a16:creationId xmlns:a16="http://schemas.microsoft.com/office/drawing/2014/main" id="{75D52102-20DD-4FBA-91D2-616C0CD1DF7B}"/>
                </a:ext>
              </a:extLst>
            </p:cNvPr>
            <p:cNvSpPr/>
            <p:nvPr/>
          </p:nvSpPr>
          <p:spPr>
            <a:xfrm>
              <a:off x="6241890" y="3290314"/>
              <a:ext cx="624349" cy="624349"/>
            </a:xfrm>
            <a:prstGeom prst="diamond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normAutofit/>
            </a:bodyPr>
            <a:lstStyle/>
            <a:p>
              <a:pPr algn="ctr"/>
              <a:r>
                <a:rPr lang="en-US" altLang="zh-CN">
                  <a:solidFill>
                    <a:schemeClr val="bg1"/>
                  </a:solidFill>
                  <a:latin typeface="Impact" panose="020B0806030902050204" pitchFamily="34" charset="0"/>
                </a:rPr>
                <a:t>03</a:t>
              </a:r>
            </a:p>
          </p:txBody>
        </p:sp>
        <p:sp>
          <p:nvSpPr>
            <p:cNvPr id="8" name="菱形 7">
              <a:extLst>
                <a:ext uri="{FF2B5EF4-FFF2-40B4-BE49-F238E27FC236}">
                  <a16:creationId xmlns:a16="http://schemas.microsoft.com/office/drawing/2014/main" id="{4F86C34A-0E21-42FB-8F4E-20801BA37B5B}"/>
                </a:ext>
              </a:extLst>
            </p:cNvPr>
            <p:cNvSpPr/>
            <p:nvPr/>
          </p:nvSpPr>
          <p:spPr>
            <a:xfrm>
              <a:off x="6241890" y="2411738"/>
              <a:ext cx="624349" cy="624349"/>
            </a:xfrm>
            <a:prstGeom prst="diamond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normAutofit/>
            </a:bodyPr>
            <a:lstStyle/>
            <a:p>
              <a:pPr algn="ctr"/>
              <a:r>
                <a:rPr lang="en-US" altLang="zh-CN">
                  <a:solidFill>
                    <a:schemeClr val="bg1"/>
                  </a:solidFill>
                  <a:latin typeface="Impact" panose="020B0806030902050204" pitchFamily="34" charset="0"/>
                </a:rPr>
                <a:t>02</a:t>
              </a:r>
            </a:p>
          </p:txBody>
        </p:sp>
        <p:sp>
          <p:nvSpPr>
            <p:cNvPr id="9" name="菱形 8">
              <a:extLst>
                <a:ext uri="{FF2B5EF4-FFF2-40B4-BE49-F238E27FC236}">
                  <a16:creationId xmlns:a16="http://schemas.microsoft.com/office/drawing/2014/main" id="{2A809297-80EE-4AA7-897C-19E8B729EE00}"/>
                </a:ext>
              </a:extLst>
            </p:cNvPr>
            <p:cNvSpPr/>
            <p:nvPr/>
          </p:nvSpPr>
          <p:spPr>
            <a:xfrm>
              <a:off x="6241892" y="1533162"/>
              <a:ext cx="624349" cy="624349"/>
            </a:xfrm>
            <a:prstGeom prst="diamond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normAutofit/>
            </a:bodyPr>
            <a:lstStyle/>
            <a:p>
              <a:pPr algn="ctr"/>
              <a:r>
                <a:rPr lang="en-US" altLang="zh-CN">
                  <a:solidFill>
                    <a:schemeClr val="bg1"/>
                  </a:solidFill>
                  <a:latin typeface="Impact" panose="020B0806030902050204" pitchFamily="34" charset="0"/>
                </a:rPr>
                <a:t>01</a:t>
              </a: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24EDF109-8EA1-4EA3-924C-690C260464F0}"/>
                </a:ext>
              </a:extLst>
            </p:cNvPr>
            <p:cNvSpPr/>
            <p:nvPr/>
          </p:nvSpPr>
          <p:spPr bwMode="auto">
            <a:xfrm>
              <a:off x="6972052" y="1880514"/>
              <a:ext cx="3610267" cy="3160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964A720C-A1E3-4822-8BA4-B6D845A30AB3}"/>
                </a:ext>
              </a:extLst>
            </p:cNvPr>
            <p:cNvSpPr txBox="1"/>
            <p:nvPr/>
          </p:nvSpPr>
          <p:spPr bwMode="auto">
            <a:xfrm>
              <a:off x="6972052" y="1456593"/>
              <a:ext cx="3610267" cy="4239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b="1" dirty="0"/>
                <a:t>年度工作概述</a:t>
              </a:r>
              <a:endParaRPr lang="en-US" altLang="zh-CN" b="1" dirty="0"/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D595006F-830E-4E22-AC9F-83242627D8D1}"/>
                </a:ext>
              </a:extLst>
            </p:cNvPr>
            <p:cNvSpPr/>
            <p:nvPr/>
          </p:nvSpPr>
          <p:spPr bwMode="auto">
            <a:xfrm>
              <a:off x="6972052" y="2782612"/>
              <a:ext cx="3610267" cy="3160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017473D2-3C4C-4719-9F58-9770326840AB}"/>
                </a:ext>
              </a:extLst>
            </p:cNvPr>
            <p:cNvSpPr txBox="1"/>
            <p:nvPr/>
          </p:nvSpPr>
          <p:spPr bwMode="auto">
            <a:xfrm>
              <a:off x="6972052" y="2358691"/>
              <a:ext cx="3610267" cy="4239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b="1" dirty="0"/>
                <a:t>工作完成情况</a:t>
              </a:r>
              <a:endParaRPr lang="en-US" altLang="zh-CN" b="1" dirty="0"/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07036BDA-8EB2-429C-8813-A1279F8DC35E}"/>
                </a:ext>
              </a:extLst>
            </p:cNvPr>
            <p:cNvSpPr/>
            <p:nvPr/>
          </p:nvSpPr>
          <p:spPr bwMode="auto">
            <a:xfrm>
              <a:off x="6972052" y="3641242"/>
              <a:ext cx="3610267" cy="3160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40ECE818-0B9D-41C2-AB3A-C3F2B9ABA8F2}"/>
                </a:ext>
              </a:extLst>
            </p:cNvPr>
            <p:cNvSpPr txBox="1"/>
            <p:nvPr/>
          </p:nvSpPr>
          <p:spPr bwMode="auto">
            <a:xfrm>
              <a:off x="6972052" y="3217321"/>
              <a:ext cx="3610267" cy="4239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b="1" dirty="0"/>
                <a:t>成功项目展示</a:t>
              </a:r>
              <a:endParaRPr lang="en-US" altLang="zh-CN" b="1" dirty="0"/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1E7FB9CB-7E3C-4300-A4D0-1D7E57B398E5}"/>
                </a:ext>
              </a:extLst>
            </p:cNvPr>
            <p:cNvSpPr/>
            <p:nvPr/>
          </p:nvSpPr>
          <p:spPr bwMode="auto">
            <a:xfrm>
              <a:off x="6972052" y="4494759"/>
              <a:ext cx="3610267" cy="3160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23523604-C174-4465-B6DA-0F352AD0947F}"/>
                </a:ext>
              </a:extLst>
            </p:cNvPr>
            <p:cNvSpPr txBox="1"/>
            <p:nvPr/>
          </p:nvSpPr>
          <p:spPr bwMode="auto">
            <a:xfrm>
              <a:off x="6972052" y="4070838"/>
              <a:ext cx="3610267" cy="4239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b="1" dirty="0"/>
                <a:t>经验终结教训</a:t>
              </a:r>
              <a:endParaRPr lang="en-US" altLang="zh-CN" b="1" dirty="0"/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1F3D15B7-3564-4945-8DC8-B50CE9C723E7}"/>
                </a:ext>
              </a:extLst>
            </p:cNvPr>
            <p:cNvSpPr/>
            <p:nvPr/>
          </p:nvSpPr>
          <p:spPr bwMode="auto">
            <a:xfrm>
              <a:off x="6972052" y="5398394"/>
              <a:ext cx="3610267" cy="3160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 dirty="0"/>
                <a:t>Copy paste fonts. Choose the only option to retain text.</a:t>
              </a: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F82FD350-49CC-4834-A5F5-8F29FA4E02D2}"/>
                </a:ext>
              </a:extLst>
            </p:cNvPr>
            <p:cNvSpPr txBox="1"/>
            <p:nvPr/>
          </p:nvSpPr>
          <p:spPr bwMode="auto">
            <a:xfrm>
              <a:off x="6972052" y="4974473"/>
              <a:ext cx="3610267" cy="4239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b="1" dirty="0"/>
                <a:t>明年工作计划</a:t>
              </a:r>
              <a:endParaRPr lang="en-US" altLang="zh-CN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9010852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859BE68-6FD2-4B67-AAC7-F467FFF998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成绩展示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50590BC-694E-47F1-AEF2-7248FB7E3C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CE52419-2744-4C20-BE58-AEBE7ED236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AF01BCB-78FB-48D5-B940-C7BC562DE5C1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648088"/>
            <a:ext cx="10851363" cy="3722711"/>
            <a:chOff x="669925" y="1648088"/>
            <a:chExt cx="10851363" cy="3722711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9FDAB466-FFBA-42D8-AC7E-0246E1CEE2CC}"/>
                </a:ext>
              </a:extLst>
            </p:cNvPr>
            <p:cNvGrpSpPr/>
            <p:nvPr/>
          </p:nvGrpSpPr>
          <p:grpSpPr>
            <a:xfrm>
              <a:off x="4179063" y="1764000"/>
              <a:ext cx="3833874" cy="3606799"/>
              <a:chOff x="4179063" y="1625602"/>
              <a:chExt cx="3833874" cy="3606799"/>
            </a:xfrm>
          </p:grpSpPr>
          <p:grpSp>
            <p:nvGrpSpPr>
              <p:cNvPr id="21" name="组合 20">
                <a:extLst>
                  <a:ext uri="{FF2B5EF4-FFF2-40B4-BE49-F238E27FC236}">
                    <a16:creationId xmlns:a16="http://schemas.microsoft.com/office/drawing/2014/main" id="{D2AC3B80-18F3-4536-8CA5-BBCAC39112E3}"/>
                  </a:ext>
                </a:extLst>
              </p:cNvPr>
              <p:cNvGrpSpPr/>
              <p:nvPr/>
            </p:nvGrpSpPr>
            <p:grpSpPr>
              <a:xfrm>
                <a:off x="4988761" y="2961648"/>
                <a:ext cx="2214454" cy="1957541"/>
                <a:chOff x="2256333" y="2393950"/>
                <a:chExt cx="2662803" cy="2353875"/>
              </a:xfrm>
              <a:solidFill>
                <a:schemeClr val="tx2">
                  <a:lumMod val="20000"/>
                  <a:lumOff val="80000"/>
                </a:schemeClr>
              </a:solidFill>
            </p:grpSpPr>
            <p:sp>
              <p:nvSpPr>
                <p:cNvPr id="28" name="任意多边形: 形状 27">
                  <a:extLst>
                    <a:ext uri="{FF2B5EF4-FFF2-40B4-BE49-F238E27FC236}">
                      <a16:creationId xmlns:a16="http://schemas.microsoft.com/office/drawing/2014/main" id="{B7BA4509-FCA9-4597-97AC-341A643CD9F3}"/>
                    </a:ext>
                  </a:extLst>
                </p:cNvPr>
                <p:cNvSpPr/>
                <p:nvPr/>
              </p:nvSpPr>
              <p:spPr>
                <a:xfrm>
                  <a:off x="2256333" y="2393950"/>
                  <a:ext cx="1332752" cy="1066274"/>
                </a:xfrm>
                <a:custGeom>
                  <a:avLst/>
                  <a:gdLst>
                    <a:gd name="connsiteX0" fmla="*/ 391617 w 1332752"/>
                    <a:gd name="connsiteY0" fmla="*/ 0 h 1066274"/>
                    <a:gd name="connsiteX1" fmla="*/ 1260043 w 1332752"/>
                    <a:gd name="connsiteY1" fmla="*/ 311757 h 1066274"/>
                    <a:gd name="connsiteX2" fmla="*/ 1332752 w 1332752"/>
                    <a:gd name="connsiteY2" fmla="*/ 377839 h 1066274"/>
                    <a:gd name="connsiteX3" fmla="*/ 1294327 w 1332752"/>
                    <a:gd name="connsiteY3" fmla="*/ 411523 h 1066274"/>
                    <a:gd name="connsiteX4" fmla="*/ 967346 w 1332752"/>
                    <a:gd name="connsiteY4" fmla="*/ 959267 h 1066274"/>
                    <a:gd name="connsiteX5" fmla="*/ 939832 w 1332752"/>
                    <a:gd name="connsiteY5" fmla="*/ 1066274 h 1066274"/>
                    <a:gd name="connsiteX6" fmla="*/ 925433 w 1332752"/>
                    <a:gd name="connsiteY6" fmla="*/ 1062572 h 1066274"/>
                    <a:gd name="connsiteX7" fmla="*/ 7069 w 1332752"/>
                    <a:gd name="connsiteY7" fmla="*/ 91709 h 1066274"/>
                    <a:gd name="connsiteX8" fmla="*/ 0 w 1332752"/>
                    <a:gd name="connsiteY8" fmla="*/ 57685 h 1066274"/>
                    <a:gd name="connsiteX9" fmla="*/ 116471 w 1332752"/>
                    <a:gd name="connsiteY9" fmla="*/ 27737 h 1066274"/>
                    <a:gd name="connsiteX10" fmla="*/ 391617 w 1332752"/>
                    <a:gd name="connsiteY10" fmla="*/ 0 h 10662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332752" h="1066274">
                      <a:moveTo>
                        <a:pt x="391617" y="0"/>
                      </a:moveTo>
                      <a:cubicBezTo>
                        <a:pt x="721495" y="0"/>
                        <a:pt x="1024047" y="116996"/>
                        <a:pt x="1260043" y="311757"/>
                      </a:cubicBezTo>
                      <a:lnTo>
                        <a:pt x="1332752" y="377839"/>
                      </a:lnTo>
                      <a:lnTo>
                        <a:pt x="1294327" y="411523"/>
                      </a:lnTo>
                      <a:cubicBezTo>
                        <a:pt x="1145578" y="563863"/>
                        <a:pt x="1032167" y="750861"/>
                        <a:pt x="967346" y="959267"/>
                      </a:cubicBezTo>
                      <a:lnTo>
                        <a:pt x="939832" y="1066274"/>
                      </a:lnTo>
                      <a:lnTo>
                        <a:pt x="925433" y="1062572"/>
                      </a:lnTo>
                      <a:cubicBezTo>
                        <a:pt x="473886" y="922127"/>
                        <a:pt x="122838" y="553579"/>
                        <a:pt x="7069" y="91709"/>
                      </a:cubicBezTo>
                      <a:lnTo>
                        <a:pt x="0" y="57685"/>
                      </a:lnTo>
                      <a:lnTo>
                        <a:pt x="116471" y="27737"/>
                      </a:lnTo>
                      <a:cubicBezTo>
                        <a:pt x="205346" y="9551"/>
                        <a:pt x="297366" y="0"/>
                        <a:pt x="391617" y="0"/>
                      </a:cubicBezTo>
                      <a:close/>
                    </a:path>
                  </a:pathLst>
                </a:custGeom>
                <a:grpFill/>
                <a:ln w="762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>
                  <a:normAutofit/>
                </a:bodyPr>
                <a:lstStyle/>
                <a:p>
                  <a:pPr algn="ctr"/>
                  <a:endParaRPr lang="en-US" altLang="zh-CN" sz="4267" b="1" dirty="0"/>
                </a:p>
              </p:txBody>
            </p:sp>
            <p:sp>
              <p:nvSpPr>
                <p:cNvPr id="29" name="任意多边形: 形状 28">
                  <a:extLst>
                    <a:ext uri="{FF2B5EF4-FFF2-40B4-BE49-F238E27FC236}">
                      <a16:creationId xmlns:a16="http://schemas.microsoft.com/office/drawing/2014/main" id="{18329C11-0658-4511-B28A-429FB4260B86}"/>
                    </a:ext>
                  </a:extLst>
                </p:cNvPr>
                <p:cNvSpPr/>
                <p:nvPr/>
              </p:nvSpPr>
              <p:spPr>
                <a:xfrm>
                  <a:off x="3589086" y="2393951"/>
                  <a:ext cx="1330050" cy="1065858"/>
                </a:xfrm>
                <a:custGeom>
                  <a:avLst/>
                  <a:gdLst>
                    <a:gd name="connsiteX0" fmla="*/ 938465 w 1330051"/>
                    <a:gd name="connsiteY0" fmla="*/ 0 h 1065858"/>
                    <a:gd name="connsiteX1" fmla="*/ 1213611 w 1330051"/>
                    <a:gd name="connsiteY1" fmla="*/ 27737 h 1065858"/>
                    <a:gd name="connsiteX2" fmla="*/ 1330051 w 1330051"/>
                    <a:gd name="connsiteY2" fmla="*/ 57677 h 1065858"/>
                    <a:gd name="connsiteX3" fmla="*/ 1302536 w 1330051"/>
                    <a:gd name="connsiteY3" fmla="*/ 164684 h 1065858"/>
                    <a:gd name="connsiteX4" fmla="*/ 436541 w 1330051"/>
                    <a:gd name="connsiteY4" fmla="*/ 1052217 h 1065858"/>
                    <a:gd name="connsiteX5" fmla="*/ 390144 w 1330051"/>
                    <a:gd name="connsiteY5" fmla="*/ 1065858 h 1065858"/>
                    <a:gd name="connsiteX6" fmla="*/ 362736 w 1330051"/>
                    <a:gd name="connsiteY6" fmla="*/ 959265 h 1065858"/>
                    <a:gd name="connsiteX7" fmla="*/ 24243 w 1330051"/>
                    <a:gd name="connsiteY7" fmla="*/ 399871 h 1065858"/>
                    <a:gd name="connsiteX8" fmla="*/ 0 w 1330051"/>
                    <a:gd name="connsiteY8" fmla="*/ 377838 h 1065858"/>
                    <a:gd name="connsiteX9" fmla="*/ 121614 w 1330051"/>
                    <a:gd name="connsiteY9" fmla="*/ 271227 h 1065858"/>
                    <a:gd name="connsiteX10" fmla="*/ 938465 w 1330051"/>
                    <a:gd name="connsiteY10" fmla="*/ 0 h 10658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330051" h="1065858">
                      <a:moveTo>
                        <a:pt x="938465" y="0"/>
                      </a:moveTo>
                      <a:cubicBezTo>
                        <a:pt x="1032716" y="0"/>
                        <a:pt x="1124736" y="9551"/>
                        <a:pt x="1213611" y="27737"/>
                      </a:cubicBezTo>
                      <a:lnTo>
                        <a:pt x="1330051" y="57677"/>
                      </a:lnTo>
                      <a:lnTo>
                        <a:pt x="1302536" y="164684"/>
                      </a:lnTo>
                      <a:cubicBezTo>
                        <a:pt x="1172894" y="581497"/>
                        <a:pt x="848893" y="912678"/>
                        <a:pt x="436541" y="1052217"/>
                      </a:cubicBezTo>
                      <a:lnTo>
                        <a:pt x="390144" y="1065858"/>
                      </a:lnTo>
                      <a:lnTo>
                        <a:pt x="362736" y="959265"/>
                      </a:lnTo>
                      <a:cubicBezTo>
                        <a:pt x="296253" y="745515"/>
                        <a:pt x="178656" y="554285"/>
                        <a:pt x="24243" y="399871"/>
                      </a:cubicBezTo>
                      <a:lnTo>
                        <a:pt x="0" y="377838"/>
                      </a:lnTo>
                      <a:lnTo>
                        <a:pt x="121614" y="271227"/>
                      </a:lnTo>
                      <a:cubicBezTo>
                        <a:pt x="349396" y="100879"/>
                        <a:pt x="632150" y="0"/>
                        <a:pt x="938465" y="0"/>
                      </a:cubicBezTo>
                      <a:close/>
                    </a:path>
                  </a:pathLst>
                </a:custGeom>
                <a:grpFill/>
                <a:ln w="762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>
                  <a:normAutofit/>
                </a:bodyPr>
                <a:lstStyle/>
                <a:p>
                  <a:pPr algn="ctr"/>
                  <a:endParaRPr lang="en-US" altLang="zh-CN" sz="4267" b="1" dirty="0"/>
                </a:p>
              </p:txBody>
            </p:sp>
            <p:sp>
              <p:nvSpPr>
                <p:cNvPr id="30" name="任意多边形: 形状 29">
                  <a:extLst>
                    <a:ext uri="{FF2B5EF4-FFF2-40B4-BE49-F238E27FC236}">
                      <a16:creationId xmlns:a16="http://schemas.microsoft.com/office/drawing/2014/main" id="{ACCE47BD-7EA7-4FBD-88EF-20CD76C8D2F2}"/>
                    </a:ext>
                  </a:extLst>
                </p:cNvPr>
                <p:cNvSpPr/>
                <p:nvPr/>
              </p:nvSpPr>
              <p:spPr>
                <a:xfrm>
                  <a:off x="3162300" y="3459809"/>
                  <a:ext cx="850900" cy="1288016"/>
                </a:xfrm>
                <a:custGeom>
                  <a:avLst/>
                  <a:gdLst>
                    <a:gd name="connsiteX0" fmla="*/ 816929 w 850900"/>
                    <a:gd name="connsiteY0" fmla="*/ 0 h 1288016"/>
                    <a:gd name="connsiteX1" fmla="*/ 823163 w 850900"/>
                    <a:gd name="connsiteY1" fmla="*/ 24245 h 1288016"/>
                    <a:gd name="connsiteX2" fmla="*/ 850900 w 850900"/>
                    <a:gd name="connsiteY2" fmla="*/ 299391 h 1288016"/>
                    <a:gd name="connsiteX3" fmla="*/ 451028 w 850900"/>
                    <a:gd name="connsiteY3" fmla="*/ 1264769 h 1288016"/>
                    <a:gd name="connsiteX4" fmla="*/ 425450 w 850900"/>
                    <a:gd name="connsiteY4" fmla="*/ 1288016 h 1288016"/>
                    <a:gd name="connsiteX5" fmla="*/ 399872 w 850900"/>
                    <a:gd name="connsiteY5" fmla="*/ 1264770 h 1288016"/>
                    <a:gd name="connsiteX6" fmla="*/ 0 w 850900"/>
                    <a:gd name="connsiteY6" fmla="*/ 299392 h 1288016"/>
                    <a:gd name="connsiteX7" fmla="*/ 27737 w 850900"/>
                    <a:gd name="connsiteY7" fmla="*/ 24246 h 1288016"/>
                    <a:gd name="connsiteX8" fmla="*/ 33865 w 850900"/>
                    <a:gd name="connsiteY8" fmla="*/ 415 h 1288016"/>
                    <a:gd name="connsiteX9" fmla="*/ 150304 w 850900"/>
                    <a:gd name="connsiteY9" fmla="*/ 30355 h 1288016"/>
                    <a:gd name="connsiteX10" fmla="*/ 425450 w 850900"/>
                    <a:gd name="connsiteY10" fmla="*/ 58092 h 1288016"/>
                    <a:gd name="connsiteX11" fmla="*/ 758458 w 850900"/>
                    <a:gd name="connsiteY11" fmla="*/ 17190 h 1288016"/>
                    <a:gd name="connsiteX12" fmla="*/ 816929 w 850900"/>
                    <a:gd name="connsiteY12" fmla="*/ 0 h 128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50900" h="1288016">
                      <a:moveTo>
                        <a:pt x="816929" y="0"/>
                      </a:moveTo>
                      <a:lnTo>
                        <a:pt x="823163" y="24245"/>
                      </a:lnTo>
                      <a:cubicBezTo>
                        <a:pt x="841349" y="113120"/>
                        <a:pt x="850900" y="205140"/>
                        <a:pt x="850900" y="299391"/>
                      </a:cubicBezTo>
                      <a:cubicBezTo>
                        <a:pt x="850900" y="676395"/>
                        <a:pt x="698089" y="1017707"/>
                        <a:pt x="451028" y="1264769"/>
                      </a:cubicBezTo>
                      <a:lnTo>
                        <a:pt x="425450" y="1288016"/>
                      </a:lnTo>
                      <a:lnTo>
                        <a:pt x="399872" y="1264770"/>
                      </a:lnTo>
                      <a:cubicBezTo>
                        <a:pt x="152811" y="1017708"/>
                        <a:pt x="0" y="676396"/>
                        <a:pt x="0" y="299392"/>
                      </a:cubicBezTo>
                      <a:cubicBezTo>
                        <a:pt x="0" y="205141"/>
                        <a:pt x="9551" y="113121"/>
                        <a:pt x="27737" y="24246"/>
                      </a:cubicBezTo>
                      <a:lnTo>
                        <a:pt x="33865" y="415"/>
                      </a:lnTo>
                      <a:lnTo>
                        <a:pt x="150304" y="30355"/>
                      </a:lnTo>
                      <a:cubicBezTo>
                        <a:pt x="239179" y="48541"/>
                        <a:pt x="331199" y="58092"/>
                        <a:pt x="425450" y="58092"/>
                      </a:cubicBezTo>
                      <a:cubicBezTo>
                        <a:pt x="540318" y="58092"/>
                        <a:pt x="651873" y="43906"/>
                        <a:pt x="758458" y="17190"/>
                      </a:cubicBezTo>
                      <a:lnTo>
                        <a:pt x="816929" y="0"/>
                      </a:lnTo>
                      <a:close/>
                    </a:path>
                  </a:pathLst>
                </a:custGeom>
                <a:grpFill/>
                <a:ln w="762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>
                  <a:normAutofit/>
                </a:bodyPr>
                <a:lstStyle/>
                <a:p>
                  <a:pPr algn="ctr"/>
                  <a:endParaRPr lang="en-US" altLang="zh-CN" sz="4267" b="1" dirty="0"/>
                </a:p>
              </p:txBody>
            </p:sp>
          </p:grp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FE511B25-83AC-4C15-8976-35961C0AE503}"/>
                  </a:ext>
                </a:extLst>
              </p:cNvPr>
              <p:cNvSpPr/>
              <p:nvPr/>
            </p:nvSpPr>
            <p:spPr>
              <a:xfrm>
                <a:off x="4960624" y="1625602"/>
                <a:ext cx="2270752" cy="1650266"/>
              </a:xfrm>
              <a:custGeom>
                <a:avLst/>
                <a:gdLst>
                  <a:gd name="connsiteX0" fmla="*/ 1365250 w 2730500"/>
                  <a:gd name="connsiteY0" fmla="*/ 0 h 1984388"/>
                  <a:gd name="connsiteX1" fmla="*/ 2730500 w 2730500"/>
                  <a:gd name="connsiteY1" fmla="*/ 1365250 h 1984388"/>
                  <a:gd name="connsiteX2" fmla="*/ 2702763 w 2730500"/>
                  <a:gd name="connsiteY2" fmla="*/ 1640396 h 1984388"/>
                  <a:gd name="connsiteX3" fmla="*/ 2696636 w 2730500"/>
                  <a:gd name="connsiteY3" fmla="*/ 1664227 h 1984388"/>
                  <a:gd name="connsiteX4" fmla="*/ 2580196 w 2730500"/>
                  <a:gd name="connsiteY4" fmla="*/ 1634287 h 1984388"/>
                  <a:gd name="connsiteX5" fmla="*/ 2305050 w 2730500"/>
                  <a:gd name="connsiteY5" fmla="*/ 1606550 h 1984388"/>
                  <a:gd name="connsiteX6" fmla="*/ 1488199 w 2730500"/>
                  <a:gd name="connsiteY6" fmla="*/ 1877777 h 1984388"/>
                  <a:gd name="connsiteX7" fmla="*/ 1366585 w 2730500"/>
                  <a:gd name="connsiteY7" fmla="*/ 1984388 h 1984388"/>
                  <a:gd name="connsiteX8" fmla="*/ 1293876 w 2730500"/>
                  <a:gd name="connsiteY8" fmla="*/ 1918306 h 1984388"/>
                  <a:gd name="connsiteX9" fmla="*/ 425450 w 2730500"/>
                  <a:gd name="connsiteY9" fmla="*/ 1606549 h 1984388"/>
                  <a:gd name="connsiteX10" fmla="*/ 150304 w 2730500"/>
                  <a:gd name="connsiteY10" fmla="*/ 1634286 h 1984388"/>
                  <a:gd name="connsiteX11" fmla="*/ 33833 w 2730500"/>
                  <a:gd name="connsiteY11" fmla="*/ 1664234 h 1984388"/>
                  <a:gd name="connsiteX12" fmla="*/ 18424 w 2730500"/>
                  <a:gd name="connsiteY12" fmla="*/ 1590078 h 1984388"/>
                  <a:gd name="connsiteX13" fmla="*/ 0 w 2730500"/>
                  <a:gd name="connsiteY13" fmla="*/ 1365250 h 1984388"/>
                  <a:gd name="connsiteX14" fmla="*/ 1365250 w 2730500"/>
                  <a:gd name="connsiteY14" fmla="*/ 0 h 1984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730500" h="1984388">
                    <a:moveTo>
                      <a:pt x="1365250" y="0"/>
                    </a:moveTo>
                    <a:cubicBezTo>
                      <a:pt x="2119257" y="0"/>
                      <a:pt x="2730500" y="611243"/>
                      <a:pt x="2730500" y="1365250"/>
                    </a:cubicBezTo>
                    <a:cubicBezTo>
                      <a:pt x="2730500" y="1459501"/>
                      <a:pt x="2720950" y="1551521"/>
                      <a:pt x="2702763" y="1640396"/>
                    </a:cubicBezTo>
                    <a:lnTo>
                      <a:pt x="2696636" y="1664227"/>
                    </a:lnTo>
                    <a:lnTo>
                      <a:pt x="2580196" y="1634287"/>
                    </a:lnTo>
                    <a:cubicBezTo>
                      <a:pt x="2491321" y="1616101"/>
                      <a:pt x="2399301" y="1606550"/>
                      <a:pt x="2305050" y="1606550"/>
                    </a:cubicBezTo>
                    <a:cubicBezTo>
                      <a:pt x="1998735" y="1606550"/>
                      <a:pt x="1715981" y="1707429"/>
                      <a:pt x="1488199" y="1877777"/>
                    </a:cubicBezTo>
                    <a:lnTo>
                      <a:pt x="1366585" y="1984388"/>
                    </a:lnTo>
                    <a:lnTo>
                      <a:pt x="1293876" y="1918306"/>
                    </a:lnTo>
                    <a:cubicBezTo>
                      <a:pt x="1057880" y="1723545"/>
                      <a:pt x="755328" y="1606549"/>
                      <a:pt x="425450" y="1606549"/>
                    </a:cubicBezTo>
                    <a:cubicBezTo>
                      <a:pt x="331199" y="1606549"/>
                      <a:pt x="239179" y="1616100"/>
                      <a:pt x="150304" y="1634286"/>
                    </a:cubicBezTo>
                    <a:lnTo>
                      <a:pt x="33833" y="1664234"/>
                    </a:lnTo>
                    <a:lnTo>
                      <a:pt x="18424" y="1590078"/>
                    </a:lnTo>
                    <a:cubicBezTo>
                      <a:pt x="6305" y="1516935"/>
                      <a:pt x="0" y="1441829"/>
                      <a:pt x="0" y="1365250"/>
                    </a:cubicBezTo>
                    <a:cubicBezTo>
                      <a:pt x="0" y="611243"/>
                      <a:pt x="611243" y="0"/>
                      <a:pt x="136525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sz="2400"/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760F4439-4384-4C2A-866B-BFEA63941865}"/>
                  </a:ext>
                </a:extLst>
              </p:cNvPr>
              <p:cNvSpPr/>
              <p:nvPr/>
            </p:nvSpPr>
            <p:spPr>
              <a:xfrm>
                <a:off x="6096000" y="3009615"/>
                <a:ext cx="1916937" cy="2222786"/>
              </a:xfrm>
              <a:custGeom>
                <a:avLst/>
                <a:gdLst>
                  <a:gd name="connsiteX0" fmla="*/ 1331386 w 2305050"/>
                  <a:gd name="connsiteY0" fmla="*/ 0 h 2672823"/>
                  <a:gd name="connsiteX1" fmla="*/ 1345784 w 2305050"/>
                  <a:gd name="connsiteY1" fmla="*/ 3702 h 2672823"/>
                  <a:gd name="connsiteX2" fmla="*/ 2305050 w 2305050"/>
                  <a:gd name="connsiteY2" fmla="*/ 1307573 h 2672823"/>
                  <a:gd name="connsiteX3" fmla="*/ 939800 w 2305050"/>
                  <a:gd name="connsiteY3" fmla="*/ 2672823 h 2672823"/>
                  <a:gd name="connsiteX4" fmla="*/ 71374 w 2305050"/>
                  <a:gd name="connsiteY4" fmla="*/ 2361066 h 2672823"/>
                  <a:gd name="connsiteX5" fmla="*/ 0 w 2305050"/>
                  <a:gd name="connsiteY5" fmla="*/ 2296197 h 2672823"/>
                  <a:gd name="connsiteX6" fmla="*/ 25578 w 2305050"/>
                  <a:gd name="connsiteY6" fmla="*/ 2272950 h 2672823"/>
                  <a:gd name="connsiteX7" fmla="*/ 425450 w 2305050"/>
                  <a:gd name="connsiteY7" fmla="*/ 1307572 h 2672823"/>
                  <a:gd name="connsiteX8" fmla="*/ 397713 w 2305050"/>
                  <a:gd name="connsiteY8" fmla="*/ 1032426 h 2672823"/>
                  <a:gd name="connsiteX9" fmla="*/ 391479 w 2305050"/>
                  <a:gd name="connsiteY9" fmla="*/ 1008181 h 2672823"/>
                  <a:gd name="connsiteX10" fmla="*/ 437876 w 2305050"/>
                  <a:gd name="connsiteY10" fmla="*/ 994540 h 2672823"/>
                  <a:gd name="connsiteX11" fmla="*/ 1303871 w 2305050"/>
                  <a:gd name="connsiteY11" fmla="*/ 107007 h 2672823"/>
                  <a:gd name="connsiteX12" fmla="*/ 1331386 w 2305050"/>
                  <a:gd name="connsiteY12" fmla="*/ 0 h 2672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05050" h="2672823">
                    <a:moveTo>
                      <a:pt x="1331386" y="0"/>
                    </a:moveTo>
                    <a:lnTo>
                      <a:pt x="1345784" y="3702"/>
                    </a:lnTo>
                    <a:cubicBezTo>
                      <a:pt x="1901534" y="176558"/>
                      <a:pt x="2305050" y="694942"/>
                      <a:pt x="2305050" y="1307573"/>
                    </a:cubicBezTo>
                    <a:cubicBezTo>
                      <a:pt x="2305050" y="2061580"/>
                      <a:pt x="1693807" y="2672823"/>
                      <a:pt x="939800" y="2672823"/>
                    </a:cubicBezTo>
                    <a:cubicBezTo>
                      <a:pt x="609922" y="2672823"/>
                      <a:pt x="307370" y="2555828"/>
                      <a:pt x="71374" y="2361066"/>
                    </a:cubicBezTo>
                    <a:lnTo>
                      <a:pt x="0" y="2296197"/>
                    </a:lnTo>
                    <a:lnTo>
                      <a:pt x="25578" y="2272950"/>
                    </a:lnTo>
                    <a:cubicBezTo>
                      <a:pt x="272639" y="2025888"/>
                      <a:pt x="425450" y="1684576"/>
                      <a:pt x="425450" y="1307572"/>
                    </a:cubicBezTo>
                    <a:cubicBezTo>
                      <a:pt x="425450" y="1213321"/>
                      <a:pt x="415899" y="1121301"/>
                      <a:pt x="397713" y="1032426"/>
                    </a:cubicBezTo>
                    <a:lnTo>
                      <a:pt x="391479" y="1008181"/>
                    </a:lnTo>
                    <a:lnTo>
                      <a:pt x="437876" y="994540"/>
                    </a:lnTo>
                    <a:cubicBezTo>
                      <a:pt x="850228" y="855001"/>
                      <a:pt x="1174229" y="523820"/>
                      <a:pt x="1303871" y="107007"/>
                    </a:cubicBezTo>
                    <a:lnTo>
                      <a:pt x="1331386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sz="2400"/>
              </a:p>
            </p:txBody>
          </p:sp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2C03B31E-3356-4562-9283-B455027CDCB9}"/>
                  </a:ext>
                </a:extLst>
              </p:cNvPr>
              <p:cNvSpPr/>
              <p:nvPr/>
            </p:nvSpPr>
            <p:spPr>
              <a:xfrm>
                <a:off x="4179063" y="3009621"/>
                <a:ext cx="1916937" cy="2222779"/>
              </a:xfrm>
              <a:custGeom>
                <a:avLst/>
                <a:gdLst>
                  <a:gd name="connsiteX0" fmla="*/ 973633 w 2305050"/>
                  <a:gd name="connsiteY0" fmla="*/ 0 h 2672815"/>
                  <a:gd name="connsiteX1" fmla="*/ 980702 w 2305050"/>
                  <a:gd name="connsiteY1" fmla="*/ 34024 h 2672815"/>
                  <a:gd name="connsiteX2" fmla="*/ 1899066 w 2305050"/>
                  <a:gd name="connsiteY2" fmla="*/ 1004887 h 2672815"/>
                  <a:gd name="connsiteX3" fmla="*/ 1913465 w 2305050"/>
                  <a:gd name="connsiteY3" fmla="*/ 1008589 h 2672815"/>
                  <a:gd name="connsiteX4" fmla="*/ 1907337 w 2305050"/>
                  <a:gd name="connsiteY4" fmla="*/ 1032420 h 2672815"/>
                  <a:gd name="connsiteX5" fmla="*/ 1879600 w 2305050"/>
                  <a:gd name="connsiteY5" fmla="*/ 1307566 h 2672815"/>
                  <a:gd name="connsiteX6" fmla="*/ 2279472 w 2305050"/>
                  <a:gd name="connsiteY6" fmla="*/ 2272944 h 2672815"/>
                  <a:gd name="connsiteX7" fmla="*/ 2305050 w 2305050"/>
                  <a:gd name="connsiteY7" fmla="*/ 2296190 h 2672815"/>
                  <a:gd name="connsiteX8" fmla="*/ 2233676 w 2305050"/>
                  <a:gd name="connsiteY8" fmla="*/ 2361058 h 2672815"/>
                  <a:gd name="connsiteX9" fmla="*/ 1365250 w 2305050"/>
                  <a:gd name="connsiteY9" fmla="*/ 2672815 h 2672815"/>
                  <a:gd name="connsiteX10" fmla="*/ 0 w 2305050"/>
                  <a:gd name="connsiteY10" fmla="*/ 1307565 h 2672815"/>
                  <a:gd name="connsiteX11" fmla="*/ 959266 w 2305050"/>
                  <a:gd name="connsiteY11" fmla="*/ 3694 h 2672815"/>
                  <a:gd name="connsiteX12" fmla="*/ 973633 w 2305050"/>
                  <a:gd name="connsiteY12" fmla="*/ 0 h 2672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05050" h="2672815">
                    <a:moveTo>
                      <a:pt x="973633" y="0"/>
                    </a:moveTo>
                    <a:lnTo>
                      <a:pt x="980702" y="34024"/>
                    </a:lnTo>
                    <a:cubicBezTo>
                      <a:pt x="1096471" y="495894"/>
                      <a:pt x="1447519" y="864442"/>
                      <a:pt x="1899066" y="1004887"/>
                    </a:cubicBezTo>
                    <a:lnTo>
                      <a:pt x="1913465" y="1008589"/>
                    </a:lnTo>
                    <a:lnTo>
                      <a:pt x="1907337" y="1032420"/>
                    </a:lnTo>
                    <a:cubicBezTo>
                      <a:pt x="1889151" y="1121295"/>
                      <a:pt x="1879600" y="1213315"/>
                      <a:pt x="1879600" y="1307566"/>
                    </a:cubicBezTo>
                    <a:cubicBezTo>
                      <a:pt x="1879600" y="1684570"/>
                      <a:pt x="2032411" y="2025882"/>
                      <a:pt x="2279472" y="2272944"/>
                    </a:cubicBezTo>
                    <a:lnTo>
                      <a:pt x="2305050" y="2296190"/>
                    </a:lnTo>
                    <a:lnTo>
                      <a:pt x="2233676" y="2361058"/>
                    </a:lnTo>
                    <a:cubicBezTo>
                      <a:pt x="1997680" y="2555820"/>
                      <a:pt x="1695128" y="2672815"/>
                      <a:pt x="1365250" y="2672815"/>
                    </a:cubicBezTo>
                    <a:cubicBezTo>
                      <a:pt x="611243" y="2672815"/>
                      <a:pt x="0" y="2061572"/>
                      <a:pt x="0" y="1307565"/>
                    </a:cubicBezTo>
                    <a:cubicBezTo>
                      <a:pt x="0" y="694934"/>
                      <a:pt x="403516" y="176550"/>
                      <a:pt x="959266" y="3694"/>
                    </a:cubicBezTo>
                    <a:lnTo>
                      <a:pt x="973633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sz="2400"/>
              </a:p>
            </p:txBody>
          </p:sp>
          <p:sp>
            <p:nvSpPr>
              <p:cNvPr id="25" name="任意多边形: 形状 24" title="WAtlRFSyYjwlCZihsxFMdcOo3NoXtu">
                <a:extLst>
                  <a:ext uri="{FF2B5EF4-FFF2-40B4-BE49-F238E27FC236}">
                    <a16:creationId xmlns:a16="http://schemas.microsoft.com/office/drawing/2014/main" id="{B10BF18D-3047-4565-8A78-6754FE05A463}"/>
                  </a:ext>
                </a:extLst>
              </p:cNvPr>
              <p:cNvSpPr/>
              <p:nvPr/>
            </p:nvSpPr>
            <p:spPr bwMode="auto">
              <a:xfrm>
                <a:off x="6816871" y="3940073"/>
                <a:ext cx="586470" cy="584298"/>
              </a:xfrm>
              <a:custGeom>
                <a:avLst/>
                <a:gdLst>
                  <a:gd name="connsiteX0" fmla="*/ 503895 w 609473"/>
                  <a:gd name="connsiteY0" fmla="*/ 296940 h 607216"/>
                  <a:gd name="connsiteX1" fmla="*/ 511570 w 609473"/>
                  <a:gd name="connsiteY1" fmla="*/ 296940 h 607216"/>
                  <a:gd name="connsiteX2" fmla="*/ 538816 w 609473"/>
                  <a:gd name="connsiteY2" fmla="*/ 296940 h 607216"/>
                  <a:gd name="connsiteX3" fmla="*/ 549465 w 609473"/>
                  <a:gd name="connsiteY3" fmla="*/ 307624 h 607216"/>
                  <a:gd name="connsiteX4" fmla="*/ 549465 w 609473"/>
                  <a:gd name="connsiteY4" fmla="*/ 324202 h 607216"/>
                  <a:gd name="connsiteX5" fmla="*/ 577094 w 609473"/>
                  <a:gd name="connsiteY5" fmla="*/ 338384 h 607216"/>
                  <a:gd name="connsiteX6" fmla="*/ 603717 w 609473"/>
                  <a:gd name="connsiteY6" fmla="*/ 388308 h 607216"/>
                  <a:gd name="connsiteX7" fmla="*/ 594699 w 609473"/>
                  <a:gd name="connsiteY7" fmla="*/ 400381 h 607216"/>
                  <a:gd name="connsiteX8" fmla="*/ 560353 w 609473"/>
                  <a:gd name="connsiteY8" fmla="*/ 405460 h 607216"/>
                  <a:gd name="connsiteX9" fmla="*/ 558771 w 609473"/>
                  <a:gd name="connsiteY9" fmla="*/ 405604 h 607216"/>
                  <a:gd name="connsiteX10" fmla="*/ 548218 w 609473"/>
                  <a:gd name="connsiteY10" fmla="*/ 396548 h 607216"/>
                  <a:gd name="connsiteX11" fmla="*/ 541310 w 609473"/>
                  <a:gd name="connsiteY11" fmla="*/ 378581 h 607216"/>
                  <a:gd name="connsiteX12" fmla="*/ 521067 w 609473"/>
                  <a:gd name="connsiteY12" fmla="*/ 370676 h 607216"/>
                  <a:gd name="connsiteX13" fmla="*/ 511618 w 609473"/>
                  <a:gd name="connsiteY13" fmla="*/ 371922 h 607216"/>
                  <a:gd name="connsiteX14" fmla="*/ 498426 w 609473"/>
                  <a:gd name="connsiteY14" fmla="*/ 379683 h 607216"/>
                  <a:gd name="connsiteX15" fmla="*/ 492574 w 609473"/>
                  <a:gd name="connsiteY15" fmla="*/ 395398 h 607216"/>
                  <a:gd name="connsiteX16" fmla="*/ 497371 w 609473"/>
                  <a:gd name="connsiteY16" fmla="*/ 410395 h 607216"/>
                  <a:gd name="connsiteX17" fmla="*/ 500537 w 609473"/>
                  <a:gd name="connsiteY17" fmla="*/ 413605 h 607216"/>
                  <a:gd name="connsiteX18" fmla="*/ 533731 w 609473"/>
                  <a:gd name="connsiteY18" fmla="*/ 425343 h 607216"/>
                  <a:gd name="connsiteX19" fmla="*/ 563232 w 609473"/>
                  <a:gd name="connsiteY19" fmla="*/ 433536 h 607216"/>
                  <a:gd name="connsiteX20" fmla="*/ 588415 w 609473"/>
                  <a:gd name="connsiteY20" fmla="*/ 450209 h 607216"/>
                  <a:gd name="connsiteX21" fmla="*/ 604149 w 609473"/>
                  <a:gd name="connsiteY21" fmla="*/ 474405 h 607216"/>
                  <a:gd name="connsiteX22" fmla="*/ 609473 w 609473"/>
                  <a:gd name="connsiteY22" fmla="*/ 503583 h 607216"/>
                  <a:gd name="connsiteX23" fmla="*/ 587408 w 609473"/>
                  <a:gd name="connsiteY23" fmla="*/ 560885 h 607216"/>
                  <a:gd name="connsiteX24" fmla="*/ 549465 w 609473"/>
                  <a:gd name="connsiteY24" fmla="*/ 583116 h 607216"/>
                  <a:gd name="connsiteX25" fmla="*/ 549465 w 609473"/>
                  <a:gd name="connsiteY25" fmla="*/ 596532 h 607216"/>
                  <a:gd name="connsiteX26" fmla="*/ 538816 w 609473"/>
                  <a:gd name="connsiteY26" fmla="*/ 607216 h 607216"/>
                  <a:gd name="connsiteX27" fmla="*/ 503991 w 609473"/>
                  <a:gd name="connsiteY27" fmla="*/ 607216 h 607216"/>
                  <a:gd name="connsiteX28" fmla="*/ 493342 w 609473"/>
                  <a:gd name="connsiteY28" fmla="*/ 596532 h 607216"/>
                  <a:gd name="connsiteX29" fmla="*/ 493342 w 609473"/>
                  <a:gd name="connsiteY29" fmla="*/ 582829 h 607216"/>
                  <a:gd name="connsiteX30" fmla="*/ 473819 w 609473"/>
                  <a:gd name="connsiteY30" fmla="*/ 575259 h 607216"/>
                  <a:gd name="connsiteX31" fmla="*/ 446045 w 609473"/>
                  <a:gd name="connsiteY31" fmla="*/ 548907 h 607216"/>
                  <a:gd name="connsiteX32" fmla="*/ 432950 w 609473"/>
                  <a:gd name="connsiteY32" fmla="*/ 506170 h 607216"/>
                  <a:gd name="connsiteX33" fmla="*/ 441776 w 609473"/>
                  <a:gd name="connsiteY33" fmla="*/ 494863 h 607216"/>
                  <a:gd name="connsiteX34" fmla="*/ 475354 w 609473"/>
                  <a:gd name="connsiteY34" fmla="*/ 489018 h 607216"/>
                  <a:gd name="connsiteX35" fmla="*/ 477224 w 609473"/>
                  <a:gd name="connsiteY35" fmla="*/ 488826 h 607216"/>
                  <a:gd name="connsiteX36" fmla="*/ 487777 w 609473"/>
                  <a:gd name="connsiteY36" fmla="*/ 497977 h 607216"/>
                  <a:gd name="connsiteX37" fmla="*/ 496412 w 609473"/>
                  <a:gd name="connsiteY37" fmla="*/ 524377 h 607216"/>
                  <a:gd name="connsiteX38" fmla="*/ 522602 w 609473"/>
                  <a:gd name="connsiteY38" fmla="*/ 536307 h 607216"/>
                  <a:gd name="connsiteX39" fmla="*/ 528071 w 609473"/>
                  <a:gd name="connsiteY39" fmla="*/ 535923 h 607216"/>
                  <a:gd name="connsiteX40" fmla="*/ 546539 w 609473"/>
                  <a:gd name="connsiteY40" fmla="*/ 526197 h 607216"/>
                  <a:gd name="connsiteX41" fmla="*/ 553686 w 609473"/>
                  <a:gd name="connsiteY41" fmla="*/ 505452 h 607216"/>
                  <a:gd name="connsiteX42" fmla="*/ 549273 w 609473"/>
                  <a:gd name="connsiteY42" fmla="*/ 489784 h 607216"/>
                  <a:gd name="connsiteX43" fmla="*/ 519724 w 609473"/>
                  <a:gd name="connsiteY43" fmla="*/ 475986 h 607216"/>
                  <a:gd name="connsiteX44" fmla="*/ 472140 w 609473"/>
                  <a:gd name="connsiteY44" fmla="*/ 459648 h 607216"/>
                  <a:gd name="connsiteX45" fmla="*/ 446429 w 609473"/>
                  <a:gd name="connsiteY45" fmla="*/ 433824 h 607216"/>
                  <a:gd name="connsiteX46" fmla="*/ 439857 w 609473"/>
                  <a:gd name="connsiteY46" fmla="*/ 416767 h 607216"/>
                  <a:gd name="connsiteX47" fmla="*/ 437603 w 609473"/>
                  <a:gd name="connsiteY47" fmla="*/ 397602 h 607216"/>
                  <a:gd name="connsiteX48" fmla="*/ 463218 w 609473"/>
                  <a:gd name="connsiteY48" fmla="*/ 339629 h 607216"/>
                  <a:gd name="connsiteX49" fmla="*/ 493198 w 609473"/>
                  <a:gd name="connsiteY49" fmla="*/ 323962 h 607216"/>
                  <a:gd name="connsiteX50" fmla="*/ 493198 w 609473"/>
                  <a:gd name="connsiteY50" fmla="*/ 307624 h 607216"/>
                  <a:gd name="connsiteX51" fmla="*/ 503895 w 609473"/>
                  <a:gd name="connsiteY51" fmla="*/ 296940 h 607216"/>
                  <a:gd name="connsiteX52" fmla="*/ 382097 w 609473"/>
                  <a:gd name="connsiteY52" fmla="*/ 246415 h 607216"/>
                  <a:gd name="connsiteX53" fmla="*/ 489125 w 609473"/>
                  <a:gd name="connsiteY53" fmla="*/ 246415 h 607216"/>
                  <a:gd name="connsiteX54" fmla="*/ 511528 w 609473"/>
                  <a:gd name="connsiteY54" fmla="*/ 268793 h 607216"/>
                  <a:gd name="connsiteX55" fmla="*/ 511528 w 609473"/>
                  <a:gd name="connsiteY55" fmla="*/ 276891 h 607216"/>
                  <a:gd name="connsiteX56" fmla="*/ 503852 w 609473"/>
                  <a:gd name="connsiteY56" fmla="*/ 276891 h 607216"/>
                  <a:gd name="connsiteX57" fmla="*/ 473150 w 609473"/>
                  <a:gd name="connsiteY57" fmla="*/ 307558 h 607216"/>
                  <a:gd name="connsiteX58" fmla="*/ 473150 w 609473"/>
                  <a:gd name="connsiteY58" fmla="*/ 309858 h 607216"/>
                  <a:gd name="connsiteX59" fmla="*/ 449979 w 609473"/>
                  <a:gd name="connsiteY59" fmla="*/ 324521 h 607216"/>
                  <a:gd name="connsiteX60" fmla="*/ 425657 w 609473"/>
                  <a:gd name="connsiteY60" fmla="*/ 357105 h 607216"/>
                  <a:gd name="connsiteX61" fmla="*/ 417549 w 609473"/>
                  <a:gd name="connsiteY61" fmla="*/ 397452 h 607216"/>
                  <a:gd name="connsiteX62" fmla="*/ 419324 w 609473"/>
                  <a:gd name="connsiteY62" fmla="*/ 416619 h 607216"/>
                  <a:gd name="connsiteX63" fmla="*/ 382097 w 609473"/>
                  <a:gd name="connsiteY63" fmla="*/ 416619 h 607216"/>
                  <a:gd name="connsiteX64" fmla="*/ 359742 w 609473"/>
                  <a:gd name="connsiteY64" fmla="*/ 394289 h 607216"/>
                  <a:gd name="connsiteX65" fmla="*/ 359742 w 609473"/>
                  <a:gd name="connsiteY65" fmla="*/ 268793 h 607216"/>
                  <a:gd name="connsiteX66" fmla="*/ 382097 w 609473"/>
                  <a:gd name="connsiteY66" fmla="*/ 246415 h 607216"/>
                  <a:gd name="connsiteX67" fmla="*/ 22403 w 609473"/>
                  <a:gd name="connsiteY67" fmla="*/ 117844 h 607216"/>
                  <a:gd name="connsiteX68" fmla="*/ 129383 w 609473"/>
                  <a:gd name="connsiteY68" fmla="*/ 117844 h 607216"/>
                  <a:gd name="connsiteX69" fmla="*/ 151786 w 609473"/>
                  <a:gd name="connsiteY69" fmla="*/ 140217 h 607216"/>
                  <a:gd name="connsiteX70" fmla="*/ 151786 w 609473"/>
                  <a:gd name="connsiteY70" fmla="*/ 394316 h 607216"/>
                  <a:gd name="connsiteX71" fmla="*/ 129335 w 609473"/>
                  <a:gd name="connsiteY71" fmla="*/ 416689 h 607216"/>
                  <a:gd name="connsiteX72" fmla="*/ 22403 w 609473"/>
                  <a:gd name="connsiteY72" fmla="*/ 416689 h 607216"/>
                  <a:gd name="connsiteX73" fmla="*/ 0 w 609473"/>
                  <a:gd name="connsiteY73" fmla="*/ 394316 h 607216"/>
                  <a:gd name="connsiteX74" fmla="*/ 0 w 609473"/>
                  <a:gd name="connsiteY74" fmla="*/ 140217 h 607216"/>
                  <a:gd name="connsiteX75" fmla="*/ 22403 w 609473"/>
                  <a:gd name="connsiteY75" fmla="*/ 117844 h 607216"/>
                  <a:gd name="connsiteX76" fmla="*/ 202271 w 609473"/>
                  <a:gd name="connsiteY76" fmla="*/ 0 h 607216"/>
                  <a:gd name="connsiteX77" fmla="*/ 309187 w 609473"/>
                  <a:gd name="connsiteY77" fmla="*/ 0 h 607216"/>
                  <a:gd name="connsiteX78" fmla="*/ 331587 w 609473"/>
                  <a:gd name="connsiteY78" fmla="*/ 22371 h 607216"/>
                  <a:gd name="connsiteX79" fmla="*/ 331587 w 609473"/>
                  <a:gd name="connsiteY79" fmla="*/ 394296 h 607216"/>
                  <a:gd name="connsiteX80" fmla="*/ 309187 w 609473"/>
                  <a:gd name="connsiteY80" fmla="*/ 416619 h 607216"/>
                  <a:gd name="connsiteX81" fmla="*/ 202271 w 609473"/>
                  <a:gd name="connsiteY81" fmla="*/ 416619 h 607216"/>
                  <a:gd name="connsiteX82" fmla="*/ 179871 w 609473"/>
                  <a:gd name="connsiteY82" fmla="*/ 394296 h 607216"/>
                  <a:gd name="connsiteX83" fmla="*/ 179871 w 609473"/>
                  <a:gd name="connsiteY83" fmla="*/ 22371 h 607216"/>
                  <a:gd name="connsiteX84" fmla="*/ 202271 w 609473"/>
                  <a:gd name="connsiteY84" fmla="*/ 0 h 607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609473" h="607216">
                    <a:moveTo>
                      <a:pt x="503895" y="296940"/>
                    </a:moveTo>
                    <a:lnTo>
                      <a:pt x="511570" y="296940"/>
                    </a:lnTo>
                    <a:lnTo>
                      <a:pt x="538816" y="296940"/>
                    </a:lnTo>
                    <a:cubicBezTo>
                      <a:pt x="544668" y="296940"/>
                      <a:pt x="549465" y="301731"/>
                      <a:pt x="549465" y="307624"/>
                    </a:cubicBezTo>
                    <a:lnTo>
                      <a:pt x="549465" y="324202"/>
                    </a:lnTo>
                    <a:cubicBezTo>
                      <a:pt x="560114" y="327268"/>
                      <a:pt x="569563" y="332155"/>
                      <a:pt x="577094" y="338384"/>
                    </a:cubicBezTo>
                    <a:cubicBezTo>
                      <a:pt x="591821" y="350601"/>
                      <a:pt x="600791" y="367418"/>
                      <a:pt x="603717" y="388308"/>
                    </a:cubicBezTo>
                    <a:cubicBezTo>
                      <a:pt x="604532" y="394105"/>
                      <a:pt x="600503" y="399471"/>
                      <a:pt x="594699" y="400381"/>
                    </a:cubicBezTo>
                    <a:lnTo>
                      <a:pt x="560353" y="405460"/>
                    </a:lnTo>
                    <a:cubicBezTo>
                      <a:pt x="559826" y="405556"/>
                      <a:pt x="559250" y="405604"/>
                      <a:pt x="558771" y="405604"/>
                    </a:cubicBezTo>
                    <a:cubicBezTo>
                      <a:pt x="553590" y="405604"/>
                      <a:pt x="549033" y="401819"/>
                      <a:pt x="548218" y="396548"/>
                    </a:cubicBezTo>
                    <a:cubicBezTo>
                      <a:pt x="546970" y="388499"/>
                      <a:pt x="544620" y="382271"/>
                      <a:pt x="541310" y="378581"/>
                    </a:cubicBezTo>
                    <a:cubicBezTo>
                      <a:pt x="536801" y="373551"/>
                      <a:pt x="529414" y="370676"/>
                      <a:pt x="521067" y="370676"/>
                    </a:cubicBezTo>
                    <a:cubicBezTo>
                      <a:pt x="517806" y="370676"/>
                      <a:pt x="514640" y="371107"/>
                      <a:pt x="511618" y="371922"/>
                    </a:cubicBezTo>
                    <a:cubicBezTo>
                      <a:pt x="506293" y="373407"/>
                      <a:pt x="501640" y="376090"/>
                      <a:pt x="498426" y="379683"/>
                    </a:cubicBezTo>
                    <a:cubicBezTo>
                      <a:pt x="494397" y="384139"/>
                      <a:pt x="492574" y="389122"/>
                      <a:pt x="492574" y="395398"/>
                    </a:cubicBezTo>
                    <a:cubicBezTo>
                      <a:pt x="492574" y="401579"/>
                      <a:pt x="494157" y="406514"/>
                      <a:pt x="497371" y="410395"/>
                    </a:cubicBezTo>
                    <a:cubicBezTo>
                      <a:pt x="498331" y="411545"/>
                      <a:pt x="499386" y="412647"/>
                      <a:pt x="500537" y="413605"/>
                    </a:cubicBezTo>
                    <a:cubicBezTo>
                      <a:pt x="508548" y="420313"/>
                      <a:pt x="520828" y="422708"/>
                      <a:pt x="533731" y="425343"/>
                    </a:cubicBezTo>
                    <a:cubicBezTo>
                      <a:pt x="543613" y="427308"/>
                      <a:pt x="553830" y="429368"/>
                      <a:pt x="563232" y="433536"/>
                    </a:cubicBezTo>
                    <a:cubicBezTo>
                      <a:pt x="573353" y="437992"/>
                      <a:pt x="581843" y="443598"/>
                      <a:pt x="588415" y="450209"/>
                    </a:cubicBezTo>
                    <a:cubicBezTo>
                      <a:pt x="595130" y="456965"/>
                      <a:pt x="600407" y="465014"/>
                      <a:pt x="604149" y="474405"/>
                    </a:cubicBezTo>
                    <a:cubicBezTo>
                      <a:pt x="607698" y="483412"/>
                      <a:pt x="609473" y="493234"/>
                      <a:pt x="609473" y="503583"/>
                    </a:cubicBezTo>
                    <a:cubicBezTo>
                      <a:pt x="609473" y="526293"/>
                      <a:pt x="602038" y="545554"/>
                      <a:pt x="587408" y="560885"/>
                    </a:cubicBezTo>
                    <a:cubicBezTo>
                      <a:pt x="577382" y="571426"/>
                      <a:pt x="564383" y="578996"/>
                      <a:pt x="549465" y="583116"/>
                    </a:cubicBezTo>
                    <a:lnTo>
                      <a:pt x="549465" y="596532"/>
                    </a:lnTo>
                    <a:cubicBezTo>
                      <a:pt x="549465" y="602425"/>
                      <a:pt x="544668" y="607216"/>
                      <a:pt x="538816" y="607216"/>
                    </a:cubicBezTo>
                    <a:lnTo>
                      <a:pt x="503991" y="607216"/>
                    </a:lnTo>
                    <a:cubicBezTo>
                      <a:pt x="498139" y="607216"/>
                      <a:pt x="493342" y="602425"/>
                      <a:pt x="493342" y="596532"/>
                    </a:cubicBezTo>
                    <a:lnTo>
                      <a:pt x="493342" y="582829"/>
                    </a:lnTo>
                    <a:cubicBezTo>
                      <a:pt x="486482" y="580960"/>
                      <a:pt x="479959" y="578421"/>
                      <a:pt x="473819" y="575259"/>
                    </a:cubicBezTo>
                    <a:cubicBezTo>
                      <a:pt x="463026" y="569701"/>
                      <a:pt x="453672" y="560837"/>
                      <a:pt x="446045" y="548907"/>
                    </a:cubicBezTo>
                    <a:cubicBezTo>
                      <a:pt x="438514" y="537073"/>
                      <a:pt x="434101" y="522700"/>
                      <a:pt x="432950" y="506170"/>
                    </a:cubicBezTo>
                    <a:cubicBezTo>
                      <a:pt x="432566" y="500660"/>
                      <a:pt x="436403" y="495821"/>
                      <a:pt x="441776" y="494863"/>
                    </a:cubicBezTo>
                    <a:lnTo>
                      <a:pt x="475354" y="489018"/>
                    </a:lnTo>
                    <a:cubicBezTo>
                      <a:pt x="475977" y="488922"/>
                      <a:pt x="476553" y="488826"/>
                      <a:pt x="477224" y="488826"/>
                    </a:cubicBezTo>
                    <a:cubicBezTo>
                      <a:pt x="482405" y="488826"/>
                      <a:pt x="487010" y="492659"/>
                      <a:pt x="487777" y="497977"/>
                    </a:cubicBezTo>
                    <a:cubicBezTo>
                      <a:pt x="489984" y="513501"/>
                      <a:pt x="493726" y="520927"/>
                      <a:pt x="496412" y="524377"/>
                    </a:cubicBezTo>
                    <a:cubicBezTo>
                      <a:pt x="502216" y="531851"/>
                      <a:pt x="512001" y="536307"/>
                      <a:pt x="522602" y="536307"/>
                    </a:cubicBezTo>
                    <a:cubicBezTo>
                      <a:pt x="524473" y="536307"/>
                      <a:pt x="526248" y="536163"/>
                      <a:pt x="528071" y="535923"/>
                    </a:cubicBezTo>
                    <a:cubicBezTo>
                      <a:pt x="535458" y="534774"/>
                      <a:pt x="542078" y="531324"/>
                      <a:pt x="546539" y="526197"/>
                    </a:cubicBezTo>
                    <a:cubicBezTo>
                      <a:pt x="551335" y="520735"/>
                      <a:pt x="553686" y="513884"/>
                      <a:pt x="553686" y="505452"/>
                    </a:cubicBezTo>
                    <a:cubicBezTo>
                      <a:pt x="553686" y="498696"/>
                      <a:pt x="552247" y="493378"/>
                      <a:pt x="549273" y="489784"/>
                    </a:cubicBezTo>
                    <a:cubicBezTo>
                      <a:pt x="543037" y="482119"/>
                      <a:pt x="530805" y="478477"/>
                      <a:pt x="519724" y="475986"/>
                    </a:cubicBezTo>
                    <a:cubicBezTo>
                      <a:pt x="502983" y="472249"/>
                      <a:pt x="487825" y="468416"/>
                      <a:pt x="472140" y="459648"/>
                    </a:cubicBezTo>
                    <a:cubicBezTo>
                      <a:pt x="461107" y="453467"/>
                      <a:pt x="452473" y="444748"/>
                      <a:pt x="446429" y="433824"/>
                    </a:cubicBezTo>
                    <a:cubicBezTo>
                      <a:pt x="443503" y="428458"/>
                      <a:pt x="441344" y="422804"/>
                      <a:pt x="439857" y="416767"/>
                    </a:cubicBezTo>
                    <a:cubicBezTo>
                      <a:pt x="438370" y="410730"/>
                      <a:pt x="437603" y="404310"/>
                      <a:pt x="437603" y="397602"/>
                    </a:cubicBezTo>
                    <a:cubicBezTo>
                      <a:pt x="437603" y="373982"/>
                      <a:pt x="446237" y="354434"/>
                      <a:pt x="463218" y="339629"/>
                    </a:cubicBezTo>
                    <a:cubicBezTo>
                      <a:pt x="471276" y="332538"/>
                      <a:pt x="481494" y="327220"/>
                      <a:pt x="493198" y="323962"/>
                    </a:cubicBezTo>
                    <a:lnTo>
                      <a:pt x="493198" y="307624"/>
                    </a:lnTo>
                    <a:cubicBezTo>
                      <a:pt x="493198" y="301731"/>
                      <a:pt x="497995" y="296940"/>
                      <a:pt x="503895" y="296940"/>
                    </a:cubicBezTo>
                    <a:close/>
                    <a:moveTo>
                      <a:pt x="382097" y="246415"/>
                    </a:moveTo>
                    <a:lnTo>
                      <a:pt x="489125" y="246415"/>
                    </a:lnTo>
                    <a:cubicBezTo>
                      <a:pt x="501454" y="246415"/>
                      <a:pt x="511528" y="256478"/>
                      <a:pt x="511528" y="268793"/>
                    </a:cubicBezTo>
                    <a:lnTo>
                      <a:pt x="511528" y="276891"/>
                    </a:lnTo>
                    <a:lnTo>
                      <a:pt x="503852" y="276891"/>
                    </a:lnTo>
                    <a:cubicBezTo>
                      <a:pt x="486870" y="276891"/>
                      <a:pt x="473150" y="290643"/>
                      <a:pt x="473150" y="307558"/>
                    </a:cubicBezTo>
                    <a:lnTo>
                      <a:pt x="473150" y="309858"/>
                    </a:lnTo>
                    <a:cubicBezTo>
                      <a:pt x="464515" y="313692"/>
                      <a:pt x="456743" y="318627"/>
                      <a:pt x="449979" y="324521"/>
                    </a:cubicBezTo>
                    <a:cubicBezTo>
                      <a:pt x="439281" y="333769"/>
                      <a:pt x="431126" y="344838"/>
                      <a:pt x="425657" y="357105"/>
                    </a:cubicBezTo>
                    <a:cubicBezTo>
                      <a:pt x="420284" y="369276"/>
                      <a:pt x="417549" y="382885"/>
                      <a:pt x="417549" y="397452"/>
                    </a:cubicBezTo>
                    <a:cubicBezTo>
                      <a:pt x="417549" y="404112"/>
                      <a:pt x="418173" y="410486"/>
                      <a:pt x="419324" y="416619"/>
                    </a:cubicBezTo>
                    <a:lnTo>
                      <a:pt x="382097" y="416619"/>
                    </a:lnTo>
                    <a:cubicBezTo>
                      <a:pt x="369768" y="416619"/>
                      <a:pt x="359742" y="406604"/>
                      <a:pt x="359742" y="394289"/>
                    </a:cubicBezTo>
                    <a:lnTo>
                      <a:pt x="359742" y="268793"/>
                    </a:lnTo>
                    <a:cubicBezTo>
                      <a:pt x="359742" y="256478"/>
                      <a:pt x="369768" y="246415"/>
                      <a:pt x="382097" y="246415"/>
                    </a:cubicBezTo>
                    <a:close/>
                    <a:moveTo>
                      <a:pt x="22403" y="117844"/>
                    </a:moveTo>
                    <a:lnTo>
                      <a:pt x="129383" y="117844"/>
                    </a:lnTo>
                    <a:cubicBezTo>
                      <a:pt x="141760" y="117844"/>
                      <a:pt x="151786" y="127905"/>
                      <a:pt x="151786" y="140217"/>
                    </a:cubicBezTo>
                    <a:lnTo>
                      <a:pt x="151786" y="394316"/>
                    </a:lnTo>
                    <a:cubicBezTo>
                      <a:pt x="151786" y="406629"/>
                      <a:pt x="141760" y="416689"/>
                      <a:pt x="129335" y="416689"/>
                    </a:cubicBezTo>
                    <a:lnTo>
                      <a:pt x="22403" y="416689"/>
                    </a:lnTo>
                    <a:cubicBezTo>
                      <a:pt x="10026" y="416689"/>
                      <a:pt x="0" y="406629"/>
                      <a:pt x="0" y="394316"/>
                    </a:cubicBezTo>
                    <a:lnTo>
                      <a:pt x="0" y="140217"/>
                    </a:lnTo>
                    <a:cubicBezTo>
                      <a:pt x="0" y="127905"/>
                      <a:pt x="10026" y="117844"/>
                      <a:pt x="22403" y="117844"/>
                    </a:cubicBezTo>
                    <a:close/>
                    <a:moveTo>
                      <a:pt x="202271" y="0"/>
                    </a:moveTo>
                    <a:lnTo>
                      <a:pt x="309187" y="0"/>
                    </a:lnTo>
                    <a:cubicBezTo>
                      <a:pt x="321562" y="0"/>
                      <a:pt x="331587" y="10012"/>
                      <a:pt x="331587" y="22371"/>
                    </a:cubicBezTo>
                    <a:lnTo>
                      <a:pt x="331587" y="394296"/>
                    </a:lnTo>
                    <a:cubicBezTo>
                      <a:pt x="331587" y="406607"/>
                      <a:pt x="321562" y="416619"/>
                      <a:pt x="309187" y="416619"/>
                    </a:cubicBezTo>
                    <a:lnTo>
                      <a:pt x="202271" y="416619"/>
                    </a:lnTo>
                    <a:cubicBezTo>
                      <a:pt x="189944" y="416619"/>
                      <a:pt x="179871" y="406607"/>
                      <a:pt x="179871" y="394296"/>
                    </a:cubicBezTo>
                    <a:lnTo>
                      <a:pt x="179871" y="22371"/>
                    </a:lnTo>
                    <a:cubicBezTo>
                      <a:pt x="179871" y="10012"/>
                      <a:pt x="189944" y="0"/>
                      <a:pt x="20227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 sz="2400"/>
              </a:p>
            </p:txBody>
          </p:sp>
          <p:sp>
            <p:nvSpPr>
              <p:cNvPr id="26" name="任意多边形: 形状 25" title="es4Tii2eE47WlbwmFstfDuGuqn8tTV">
                <a:extLst>
                  <a:ext uri="{FF2B5EF4-FFF2-40B4-BE49-F238E27FC236}">
                    <a16:creationId xmlns:a16="http://schemas.microsoft.com/office/drawing/2014/main" id="{C672FF16-7471-4F89-9CDF-A3D11C128EB1}"/>
                  </a:ext>
                </a:extLst>
              </p:cNvPr>
              <p:cNvSpPr/>
              <p:nvPr/>
            </p:nvSpPr>
            <p:spPr bwMode="auto">
              <a:xfrm>
                <a:off x="5821843" y="2154220"/>
                <a:ext cx="594619" cy="592417"/>
              </a:xfrm>
              <a:custGeom>
                <a:avLst/>
                <a:gdLst>
                  <a:gd name="connsiteX0" fmla="*/ 503895 w 609473"/>
                  <a:gd name="connsiteY0" fmla="*/ 296940 h 607216"/>
                  <a:gd name="connsiteX1" fmla="*/ 511570 w 609473"/>
                  <a:gd name="connsiteY1" fmla="*/ 296940 h 607216"/>
                  <a:gd name="connsiteX2" fmla="*/ 538816 w 609473"/>
                  <a:gd name="connsiteY2" fmla="*/ 296940 h 607216"/>
                  <a:gd name="connsiteX3" fmla="*/ 549465 w 609473"/>
                  <a:gd name="connsiteY3" fmla="*/ 307624 h 607216"/>
                  <a:gd name="connsiteX4" fmla="*/ 549465 w 609473"/>
                  <a:gd name="connsiteY4" fmla="*/ 324202 h 607216"/>
                  <a:gd name="connsiteX5" fmla="*/ 577094 w 609473"/>
                  <a:gd name="connsiteY5" fmla="*/ 338384 h 607216"/>
                  <a:gd name="connsiteX6" fmla="*/ 603717 w 609473"/>
                  <a:gd name="connsiteY6" fmla="*/ 388308 h 607216"/>
                  <a:gd name="connsiteX7" fmla="*/ 594699 w 609473"/>
                  <a:gd name="connsiteY7" fmla="*/ 400381 h 607216"/>
                  <a:gd name="connsiteX8" fmla="*/ 560353 w 609473"/>
                  <a:gd name="connsiteY8" fmla="*/ 405460 h 607216"/>
                  <a:gd name="connsiteX9" fmla="*/ 558771 w 609473"/>
                  <a:gd name="connsiteY9" fmla="*/ 405604 h 607216"/>
                  <a:gd name="connsiteX10" fmla="*/ 548218 w 609473"/>
                  <a:gd name="connsiteY10" fmla="*/ 396548 h 607216"/>
                  <a:gd name="connsiteX11" fmla="*/ 541310 w 609473"/>
                  <a:gd name="connsiteY11" fmla="*/ 378581 h 607216"/>
                  <a:gd name="connsiteX12" fmla="*/ 521067 w 609473"/>
                  <a:gd name="connsiteY12" fmla="*/ 370676 h 607216"/>
                  <a:gd name="connsiteX13" fmla="*/ 511618 w 609473"/>
                  <a:gd name="connsiteY13" fmla="*/ 371922 h 607216"/>
                  <a:gd name="connsiteX14" fmla="*/ 498426 w 609473"/>
                  <a:gd name="connsiteY14" fmla="*/ 379683 h 607216"/>
                  <a:gd name="connsiteX15" fmla="*/ 492574 w 609473"/>
                  <a:gd name="connsiteY15" fmla="*/ 395398 h 607216"/>
                  <a:gd name="connsiteX16" fmla="*/ 497371 w 609473"/>
                  <a:gd name="connsiteY16" fmla="*/ 410395 h 607216"/>
                  <a:gd name="connsiteX17" fmla="*/ 500537 w 609473"/>
                  <a:gd name="connsiteY17" fmla="*/ 413605 h 607216"/>
                  <a:gd name="connsiteX18" fmla="*/ 533731 w 609473"/>
                  <a:gd name="connsiteY18" fmla="*/ 425343 h 607216"/>
                  <a:gd name="connsiteX19" fmla="*/ 563232 w 609473"/>
                  <a:gd name="connsiteY19" fmla="*/ 433536 h 607216"/>
                  <a:gd name="connsiteX20" fmla="*/ 588415 w 609473"/>
                  <a:gd name="connsiteY20" fmla="*/ 450209 h 607216"/>
                  <a:gd name="connsiteX21" fmla="*/ 604149 w 609473"/>
                  <a:gd name="connsiteY21" fmla="*/ 474405 h 607216"/>
                  <a:gd name="connsiteX22" fmla="*/ 609473 w 609473"/>
                  <a:gd name="connsiteY22" fmla="*/ 503583 h 607216"/>
                  <a:gd name="connsiteX23" fmla="*/ 587408 w 609473"/>
                  <a:gd name="connsiteY23" fmla="*/ 560885 h 607216"/>
                  <a:gd name="connsiteX24" fmla="*/ 549465 w 609473"/>
                  <a:gd name="connsiteY24" fmla="*/ 583116 h 607216"/>
                  <a:gd name="connsiteX25" fmla="*/ 549465 w 609473"/>
                  <a:gd name="connsiteY25" fmla="*/ 596532 h 607216"/>
                  <a:gd name="connsiteX26" fmla="*/ 538816 w 609473"/>
                  <a:gd name="connsiteY26" fmla="*/ 607216 h 607216"/>
                  <a:gd name="connsiteX27" fmla="*/ 503991 w 609473"/>
                  <a:gd name="connsiteY27" fmla="*/ 607216 h 607216"/>
                  <a:gd name="connsiteX28" fmla="*/ 493342 w 609473"/>
                  <a:gd name="connsiteY28" fmla="*/ 596532 h 607216"/>
                  <a:gd name="connsiteX29" fmla="*/ 493342 w 609473"/>
                  <a:gd name="connsiteY29" fmla="*/ 582829 h 607216"/>
                  <a:gd name="connsiteX30" fmla="*/ 473819 w 609473"/>
                  <a:gd name="connsiteY30" fmla="*/ 575259 h 607216"/>
                  <a:gd name="connsiteX31" fmla="*/ 446045 w 609473"/>
                  <a:gd name="connsiteY31" fmla="*/ 548907 h 607216"/>
                  <a:gd name="connsiteX32" fmla="*/ 432950 w 609473"/>
                  <a:gd name="connsiteY32" fmla="*/ 506170 h 607216"/>
                  <a:gd name="connsiteX33" fmla="*/ 441776 w 609473"/>
                  <a:gd name="connsiteY33" fmla="*/ 494863 h 607216"/>
                  <a:gd name="connsiteX34" fmla="*/ 475354 w 609473"/>
                  <a:gd name="connsiteY34" fmla="*/ 489018 h 607216"/>
                  <a:gd name="connsiteX35" fmla="*/ 477224 w 609473"/>
                  <a:gd name="connsiteY35" fmla="*/ 488826 h 607216"/>
                  <a:gd name="connsiteX36" fmla="*/ 487777 w 609473"/>
                  <a:gd name="connsiteY36" fmla="*/ 497977 h 607216"/>
                  <a:gd name="connsiteX37" fmla="*/ 496412 w 609473"/>
                  <a:gd name="connsiteY37" fmla="*/ 524377 h 607216"/>
                  <a:gd name="connsiteX38" fmla="*/ 522602 w 609473"/>
                  <a:gd name="connsiteY38" fmla="*/ 536307 h 607216"/>
                  <a:gd name="connsiteX39" fmla="*/ 528071 w 609473"/>
                  <a:gd name="connsiteY39" fmla="*/ 535923 h 607216"/>
                  <a:gd name="connsiteX40" fmla="*/ 546539 w 609473"/>
                  <a:gd name="connsiteY40" fmla="*/ 526197 h 607216"/>
                  <a:gd name="connsiteX41" fmla="*/ 553686 w 609473"/>
                  <a:gd name="connsiteY41" fmla="*/ 505452 h 607216"/>
                  <a:gd name="connsiteX42" fmla="*/ 549273 w 609473"/>
                  <a:gd name="connsiteY42" fmla="*/ 489784 h 607216"/>
                  <a:gd name="connsiteX43" fmla="*/ 519724 w 609473"/>
                  <a:gd name="connsiteY43" fmla="*/ 475986 h 607216"/>
                  <a:gd name="connsiteX44" fmla="*/ 472140 w 609473"/>
                  <a:gd name="connsiteY44" fmla="*/ 459648 h 607216"/>
                  <a:gd name="connsiteX45" fmla="*/ 446429 w 609473"/>
                  <a:gd name="connsiteY45" fmla="*/ 433824 h 607216"/>
                  <a:gd name="connsiteX46" fmla="*/ 439857 w 609473"/>
                  <a:gd name="connsiteY46" fmla="*/ 416767 h 607216"/>
                  <a:gd name="connsiteX47" fmla="*/ 437603 w 609473"/>
                  <a:gd name="connsiteY47" fmla="*/ 397602 h 607216"/>
                  <a:gd name="connsiteX48" fmla="*/ 463218 w 609473"/>
                  <a:gd name="connsiteY48" fmla="*/ 339629 h 607216"/>
                  <a:gd name="connsiteX49" fmla="*/ 493198 w 609473"/>
                  <a:gd name="connsiteY49" fmla="*/ 323962 h 607216"/>
                  <a:gd name="connsiteX50" fmla="*/ 493198 w 609473"/>
                  <a:gd name="connsiteY50" fmla="*/ 307624 h 607216"/>
                  <a:gd name="connsiteX51" fmla="*/ 503895 w 609473"/>
                  <a:gd name="connsiteY51" fmla="*/ 296940 h 607216"/>
                  <a:gd name="connsiteX52" fmla="*/ 382097 w 609473"/>
                  <a:gd name="connsiteY52" fmla="*/ 246415 h 607216"/>
                  <a:gd name="connsiteX53" fmla="*/ 489125 w 609473"/>
                  <a:gd name="connsiteY53" fmla="*/ 246415 h 607216"/>
                  <a:gd name="connsiteX54" fmla="*/ 511528 w 609473"/>
                  <a:gd name="connsiteY54" fmla="*/ 268793 h 607216"/>
                  <a:gd name="connsiteX55" fmla="*/ 511528 w 609473"/>
                  <a:gd name="connsiteY55" fmla="*/ 276891 h 607216"/>
                  <a:gd name="connsiteX56" fmla="*/ 503852 w 609473"/>
                  <a:gd name="connsiteY56" fmla="*/ 276891 h 607216"/>
                  <a:gd name="connsiteX57" fmla="*/ 473150 w 609473"/>
                  <a:gd name="connsiteY57" fmla="*/ 307558 h 607216"/>
                  <a:gd name="connsiteX58" fmla="*/ 473150 w 609473"/>
                  <a:gd name="connsiteY58" fmla="*/ 309858 h 607216"/>
                  <a:gd name="connsiteX59" fmla="*/ 449979 w 609473"/>
                  <a:gd name="connsiteY59" fmla="*/ 324521 h 607216"/>
                  <a:gd name="connsiteX60" fmla="*/ 425657 w 609473"/>
                  <a:gd name="connsiteY60" fmla="*/ 357105 h 607216"/>
                  <a:gd name="connsiteX61" fmla="*/ 417549 w 609473"/>
                  <a:gd name="connsiteY61" fmla="*/ 397452 h 607216"/>
                  <a:gd name="connsiteX62" fmla="*/ 419324 w 609473"/>
                  <a:gd name="connsiteY62" fmla="*/ 416619 h 607216"/>
                  <a:gd name="connsiteX63" fmla="*/ 382097 w 609473"/>
                  <a:gd name="connsiteY63" fmla="*/ 416619 h 607216"/>
                  <a:gd name="connsiteX64" fmla="*/ 359742 w 609473"/>
                  <a:gd name="connsiteY64" fmla="*/ 394289 h 607216"/>
                  <a:gd name="connsiteX65" fmla="*/ 359742 w 609473"/>
                  <a:gd name="connsiteY65" fmla="*/ 268793 h 607216"/>
                  <a:gd name="connsiteX66" fmla="*/ 382097 w 609473"/>
                  <a:gd name="connsiteY66" fmla="*/ 246415 h 607216"/>
                  <a:gd name="connsiteX67" fmla="*/ 22403 w 609473"/>
                  <a:gd name="connsiteY67" fmla="*/ 117844 h 607216"/>
                  <a:gd name="connsiteX68" fmla="*/ 129383 w 609473"/>
                  <a:gd name="connsiteY68" fmla="*/ 117844 h 607216"/>
                  <a:gd name="connsiteX69" fmla="*/ 151786 w 609473"/>
                  <a:gd name="connsiteY69" fmla="*/ 140217 h 607216"/>
                  <a:gd name="connsiteX70" fmla="*/ 151786 w 609473"/>
                  <a:gd name="connsiteY70" fmla="*/ 394316 h 607216"/>
                  <a:gd name="connsiteX71" fmla="*/ 129335 w 609473"/>
                  <a:gd name="connsiteY71" fmla="*/ 416689 h 607216"/>
                  <a:gd name="connsiteX72" fmla="*/ 22403 w 609473"/>
                  <a:gd name="connsiteY72" fmla="*/ 416689 h 607216"/>
                  <a:gd name="connsiteX73" fmla="*/ 0 w 609473"/>
                  <a:gd name="connsiteY73" fmla="*/ 394316 h 607216"/>
                  <a:gd name="connsiteX74" fmla="*/ 0 w 609473"/>
                  <a:gd name="connsiteY74" fmla="*/ 140217 h 607216"/>
                  <a:gd name="connsiteX75" fmla="*/ 22403 w 609473"/>
                  <a:gd name="connsiteY75" fmla="*/ 117844 h 607216"/>
                  <a:gd name="connsiteX76" fmla="*/ 202271 w 609473"/>
                  <a:gd name="connsiteY76" fmla="*/ 0 h 607216"/>
                  <a:gd name="connsiteX77" fmla="*/ 309187 w 609473"/>
                  <a:gd name="connsiteY77" fmla="*/ 0 h 607216"/>
                  <a:gd name="connsiteX78" fmla="*/ 331587 w 609473"/>
                  <a:gd name="connsiteY78" fmla="*/ 22371 h 607216"/>
                  <a:gd name="connsiteX79" fmla="*/ 331587 w 609473"/>
                  <a:gd name="connsiteY79" fmla="*/ 394296 h 607216"/>
                  <a:gd name="connsiteX80" fmla="*/ 309187 w 609473"/>
                  <a:gd name="connsiteY80" fmla="*/ 416619 h 607216"/>
                  <a:gd name="connsiteX81" fmla="*/ 202271 w 609473"/>
                  <a:gd name="connsiteY81" fmla="*/ 416619 h 607216"/>
                  <a:gd name="connsiteX82" fmla="*/ 179871 w 609473"/>
                  <a:gd name="connsiteY82" fmla="*/ 394296 h 607216"/>
                  <a:gd name="connsiteX83" fmla="*/ 179871 w 609473"/>
                  <a:gd name="connsiteY83" fmla="*/ 22371 h 607216"/>
                  <a:gd name="connsiteX84" fmla="*/ 202271 w 609473"/>
                  <a:gd name="connsiteY84" fmla="*/ 0 h 607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609473" h="607216">
                    <a:moveTo>
                      <a:pt x="503895" y="296940"/>
                    </a:moveTo>
                    <a:lnTo>
                      <a:pt x="511570" y="296940"/>
                    </a:lnTo>
                    <a:lnTo>
                      <a:pt x="538816" y="296940"/>
                    </a:lnTo>
                    <a:cubicBezTo>
                      <a:pt x="544668" y="296940"/>
                      <a:pt x="549465" y="301731"/>
                      <a:pt x="549465" y="307624"/>
                    </a:cubicBezTo>
                    <a:lnTo>
                      <a:pt x="549465" y="324202"/>
                    </a:lnTo>
                    <a:cubicBezTo>
                      <a:pt x="560114" y="327268"/>
                      <a:pt x="569563" y="332155"/>
                      <a:pt x="577094" y="338384"/>
                    </a:cubicBezTo>
                    <a:cubicBezTo>
                      <a:pt x="591821" y="350601"/>
                      <a:pt x="600791" y="367418"/>
                      <a:pt x="603717" y="388308"/>
                    </a:cubicBezTo>
                    <a:cubicBezTo>
                      <a:pt x="604532" y="394105"/>
                      <a:pt x="600503" y="399471"/>
                      <a:pt x="594699" y="400381"/>
                    </a:cubicBezTo>
                    <a:lnTo>
                      <a:pt x="560353" y="405460"/>
                    </a:lnTo>
                    <a:cubicBezTo>
                      <a:pt x="559826" y="405556"/>
                      <a:pt x="559250" y="405604"/>
                      <a:pt x="558771" y="405604"/>
                    </a:cubicBezTo>
                    <a:cubicBezTo>
                      <a:pt x="553590" y="405604"/>
                      <a:pt x="549033" y="401819"/>
                      <a:pt x="548218" y="396548"/>
                    </a:cubicBezTo>
                    <a:cubicBezTo>
                      <a:pt x="546970" y="388499"/>
                      <a:pt x="544620" y="382271"/>
                      <a:pt x="541310" y="378581"/>
                    </a:cubicBezTo>
                    <a:cubicBezTo>
                      <a:pt x="536801" y="373551"/>
                      <a:pt x="529414" y="370676"/>
                      <a:pt x="521067" y="370676"/>
                    </a:cubicBezTo>
                    <a:cubicBezTo>
                      <a:pt x="517806" y="370676"/>
                      <a:pt x="514640" y="371107"/>
                      <a:pt x="511618" y="371922"/>
                    </a:cubicBezTo>
                    <a:cubicBezTo>
                      <a:pt x="506293" y="373407"/>
                      <a:pt x="501640" y="376090"/>
                      <a:pt x="498426" y="379683"/>
                    </a:cubicBezTo>
                    <a:cubicBezTo>
                      <a:pt x="494397" y="384139"/>
                      <a:pt x="492574" y="389122"/>
                      <a:pt x="492574" y="395398"/>
                    </a:cubicBezTo>
                    <a:cubicBezTo>
                      <a:pt x="492574" y="401579"/>
                      <a:pt x="494157" y="406514"/>
                      <a:pt x="497371" y="410395"/>
                    </a:cubicBezTo>
                    <a:cubicBezTo>
                      <a:pt x="498331" y="411545"/>
                      <a:pt x="499386" y="412647"/>
                      <a:pt x="500537" y="413605"/>
                    </a:cubicBezTo>
                    <a:cubicBezTo>
                      <a:pt x="508548" y="420313"/>
                      <a:pt x="520828" y="422708"/>
                      <a:pt x="533731" y="425343"/>
                    </a:cubicBezTo>
                    <a:cubicBezTo>
                      <a:pt x="543613" y="427308"/>
                      <a:pt x="553830" y="429368"/>
                      <a:pt x="563232" y="433536"/>
                    </a:cubicBezTo>
                    <a:cubicBezTo>
                      <a:pt x="573353" y="437992"/>
                      <a:pt x="581843" y="443598"/>
                      <a:pt x="588415" y="450209"/>
                    </a:cubicBezTo>
                    <a:cubicBezTo>
                      <a:pt x="595130" y="456965"/>
                      <a:pt x="600407" y="465014"/>
                      <a:pt x="604149" y="474405"/>
                    </a:cubicBezTo>
                    <a:cubicBezTo>
                      <a:pt x="607698" y="483412"/>
                      <a:pt x="609473" y="493234"/>
                      <a:pt x="609473" y="503583"/>
                    </a:cubicBezTo>
                    <a:cubicBezTo>
                      <a:pt x="609473" y="526293"/>
                      <a:pt x="602038" y="545554"/>
                      <a:pt x="587408" y="560885"/>
                    </a:cubicBezTo>
                    <a:cubicBezTo>
                      <a:pt x="577382" y="571426"/>
                      <a:pt x="564383" y="578996"/>
                      <a:pt x="549465" y="583116"/>
                    </a:cubicBezTo>
                    <a:lnTo>
                      <a:pt x="549465" y="596532"/>
                    </a:lnTo>
                    <a:cubicBezTo>
                      <a:pt x="549465" y="602425"/>
                      <a:pt x="544668" y="607216"/>
                      <a:pt x="538816" y="607216"/>
                    </a:cubicBezTo>
                    <a:lnTo>
                      <a:pt x="503991" y="607216"/>
                    </a:lnTo>
                    <a:cubicBezTo>
                      <a:pt x="498139" y="607216"/>
                      <a:pt x="493342" y="602425"/>
                      <a:pt x="493342" y="596532"/>
                    </a:cubicBezTo>
                    <a:lnTo>
                      <a:pt x="493342" y="582829"/>
                    </a:lnTo>
                    <a:cubicBezTo>
                      <a:pt x="486482" y="580960"/>
                      <a:pt x="479959" y="578421"/>
                      <a:pt x="473819" y="575259"/>
                    </a:cubicBezTo>
                    <a:cubicBezTo>
                      <a:pt x="463026" y="569701"/>
                      <a:pt x="453672" y="560837"/>
                      <a:pt x="446045" y="548907"/>
                    </a:cubicBezTo>
                    <a:cubicBezTo>
                      <a:pt x="438514" y="537073"/>
                      <a:pt x="434101" y="522700"/>
                      <a:pt x="432950" y="506170"/>
                    </a:cubicBezTo>
                    <a:cubicBezTo>
                      <a:pt x="432566" y="500660"/>
                      <a:pt x="436403" y="495821"/>
                      <a:pt x="441776" y="494863"/>
                    </a:cubicBezTo>
                    <a:lnTo>
                      <a:pt x="475354" y="489018"/>
                    </a:lnTo>
                    <a:cubicBezTo>
                      <a:pt x="475977" y="488922"/>
                      <a:pt x="476553" y="488826"/>
                      <a:pt x="477224" y="488826"/>
                    </a:cubicBezTo>
                    <a:cubicBezTo>
                      <a:pt x="482405" y="488826"/>
                      <a:pt x="487010" y="492659"/>
                      <a:pt x="487777" y="497977"/>
                    </a:cubicBezTo>
                    <a:cubicBezTo>
                      <a:pt x="489984" y="513501"/>
                      <a:pt x="493726" y="520927"/>
                      <a:pt x="496412" y="524377"/>
                    </a:cubicBezTo>
                    <a:cubicBezTo>
                      <a:pt x="502216" y="531851"/>
                      <a:pt x="512001" y="536307"/>
                      <a:pt x="522602" y="536307"/>
                    </a:cubicBezTo>
                    <a:cubicBezTo>
                      <a:pt x="524473" y="536307"/>
                      <a:pt x="526248" y="536163"/>
                      <a:pt x="528071" y="535923"/>
                    </a:cubicBezTo>
                    <a:cubicBezTo>
                      <a:pt x="535458" y="534774"/>
                      <a:pt x="542078" y="531324"/>
                      <a:pt x="546539" y="526197"/>
                    </a:cubicBezTo>
                    <a:cubicBezTo>
                      <a:pt x="551335" y="520735"/>
                      <a:pt x="553686" y="513884"/>
                      <a:pt x="553686" y="505452"/>
                    </a:cubicBezTo>
                    <a:cubicBezTo>
                      <a:pt x="553686" y="498696"/>
                      <a:pt x="552247" y="493378"/>
                      <a:pt x="549273" y="489784"/>
                    </a:cubicBezTo>
                    <a:cubicBezTo>
                      <a:pt x="543037" y="482119"/>
                      <a:pt x="530805" y="478477"/>
                      <a:pt x="519724" y="475986"/>
                    </a:cubicBezTo>
                    <a:cubicBezTo>
                      <a:pt x="502983" y="472249"/>
                      <a:pt x="487825" y="468416"/>
                      <a:pt x="472140" y="459648"/>
                    </a:cubicBezTo>
                    <a:cubicBezTo>
                      <a:pt x="461107" y="453467"/>
                      <a:pt x="452473" y="444748"/>
                      <a:pt x="446429" y="433824"/>
                    </a:cubicBezTo>
                    <a:cubicBezTo>
                      <a:pt x="443503" y="428458"/>
                      <a:pt x="441344" y="422804"/>
                      <a:pt x="439857" y="416767"/>
                    </a:cubicBezTo>
                    <a:cubicBezTo>
                      <a:pt x="438370" y="410730"/>
                      <a:pt x="437603" y="404310"/>
                      <a:pt x="437603" y="397602"/>
                    </a:cubicBezTo>
                    <a:cubicBezTo>
                      <a:pt x="437603" y="373982"/>
                      <a:pt x="446237" y="354434"/>
                      <a:pt x="463218" y="339629"/>
                    </a:cubicBezTo>
                    <a:cubicBezTo>
                      <a:pt x="471276" y="332538"/>
                      <a:pt x="481494" y="327220"/>
                      <a:pt x="493198" y="323962"/>
                    </a:cubicBezTo>
                    <a:lnTo>
                      <a:pt x="493198" y="307624"/>
                    </a:lnTo>
                    <a:cubicBezTo>
                      <a:pt x="493198" y="301731"/>
                      <a:pt x="497995" y="296940"/>
                      <a:pt x="503895" y="296940"/>
                    </a:cubicBezTo>
                    <a:close/>
                    <a:moveTo>
                      <a:pt x="382097" y="246415"/>
                    </a:moveTo>
                    <a:lnTo>
                      <a:pt x="489125" y="246415"/>
                    </a:lnTo>
                    <a:cubicBezTo>
                      <a:pt x="501454" y="246415"/>
                      <a:pt x="511528" y="256478"/>
                      <a:pt x="511528" y="268793"/>
                    </a:cubicBezTo>
                    <a:lnTo>
                      <a:pt x="511528" y="276891"/>
                    </a:lnTo>
                    <a:lnTo>
                      <a:pt x="503852" y="276891"/>
                    </a:lnTo>
                    <a:cubicBezTo>
                      <a:pt x="486870" y="276891"/>
                      <a:pt x="473150" y="290643"/>
                      <a:pt x="473150" y="307558"/>
                    </a:cubicBezTo>
                    <a:lnTo>
                      <a:pt x="473150" y="309858"/>
                    </a:lnTo>
                    <a:cubicBezTo>
                      <a:pt x="464515" y="313692"/>
                      <a:pt x="456743" y="318627"/>
                      <a:pt x="449979" y="324521"/>
                    </a:cubicBezTo>
                    <a:cubicBezTo>
                      <a:pt x="439281" y="333769"/>
                      <a:pt x="431126" y="344838"/>
                      <a:pt x="425657" y="357105"/>
                    </a:cubicBezTo>
                    <a:cubicBezTo>
                      <a:pt x="420284" y="369276"/>
                      <a:pt x="417549" y="382885"/>
                      <a:pt x="417549" y="397452"/>
                    </a:cubicBezTo>
                    <a:cubicBezTo>
                      <a:pt x="417549" y="404112"/>
                      <a:pt x="418173" y="410486"/>
                      <a:pt x="419324" y="416619"/>
                    </a:cubicBezTo>
                    <a:lnTo>
                      <a:pt x="382097" y="416619"/>
                    </a:lnTo>
                    <a:cubicBezTo>
                      <a:pt x="369768" y="416619"/>
                      <a:pt x="359742" y="406604"/>
                      <a:pt x="359742" y="394289"/>
                    </a:cubicBezTo>
                    <a:lnTo>
                      <a:pt x="359742" y="268793"/>
                    </a:lnTo>
                    <a:cubicBezTo>
                      <a:pt x="359742" y="256478"/>
                      <a:pt x="369768" y="246415"/>
                      <a:pt x="382097" y="246415"/>
                    </a:cubicBezTo>
                    <a:close/>
                    <a:moveTo>
                      <a:pt x="22403" y="117844"/>
                    </a:moveTo>
                    <a:lnTo>
                      <a:pt x="129383" y="117844"/>
                    </a:lnTo>
                    <a:cubicBezTo>
                      <a:pt x="141760" y="117844"/>
                      <a:pt x="151786" y="127905"/>
                      <a:pt x="151786" y="140217"/>
                    </a:cubicBezTo>
                    <a:lnTo>
                      <a:pt x="151786" y="394316"/>
                    </a:lnTo>
                    <a:cubicBezTo>
                      <a:pt x="151786" y="406629"/>
                      <a:pt x="141760" y="416689"/>
                      <a:pt x="129335" y="416689"/>
                    </a:cubicBezTo>
                    <a:lnTo>
                      <a:pt x="22403" y="416689"/>
                    </a:lnTo>
                    <a:cubicBezTo>
                      <a:pt x="10026" y="416689"/>
                      <a:pt x="0" y="406629"/>
                      <a:pt x="0" y="394316"/>
                    </a:cubicBezTo>
                    <a:lnTo>
                      <a:pt x="0" y="140217"/>
                    </a:lnTo>
                    <a:cubicBezTo>
                      <a:pt x="0" y="127905"/>
                      <a:pt x="10026" y="117844"/>
                      <a:pt x="22403" y="117844"/>
                    </a:cubicBezTo>
                    <a:close/>
                    <a:moveTo>
                      <a:pt x="202271" y="0"/>
                    </a:moveTo>
                    <a:lnTo>
                      <a:pt x="309187" y="0"/>
                    </a:lnTo>
                    <a:cubicBezTo>
                      <a:pt x="321562" y="0"/>
                      <a:pt x="331587" y="10012"/>
                      <a:pt x="331587" y="22371"/>
                    </a:cubicBezTo>
                    <a:lnTo>
                      <a:pt x="331587" y="394296"/>
                    </a:lnTo>
                    <a:cubicBezTo>
                      <a:pt x="331587" y="406607"/>
                      <a:pt x="321562" y="416619"/>
                      <a:pt x="309187" y="416619"/>
                    </a:cubicBezTo>
                    <a:lnTo>
                      <a:pt x="202271" y="416619"/>
                    </a:lnTo>
                    <a:cubicBezTo>
                      <a:pt x="189944" y="416619"/>
                      <a:pt x="179871" y="406607"/>
                      <a:pt x="179871" y="394296"/>
                    </a:cubicBezTo>
                    <a:lnTo>
                      <a:pt x="179871" y="22371"/>
                    </a:lnTo>
                    <a:cubicBezTo>
                      <a:pt x="179871" y="10012"/>
                      <a:pt x="189944" y="0"/>
                      <a:pt x="20227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 sz="2400"/>
              </a:p>
            </p:txBody>
          </p:sp>
          <p:sp>
            <p:nvSpPr>
              <p:cNvPr id="27" name="任意多边形: 形状 26" title="Vov2p0psHRsEWfSLTBZgBXcW4LAh4n">
                <a:extLst>
                  <a:ext uri="{FF2B5EF4-FFF2-40B4-BE49-F238E27FC236}">
                    <a16:creationId xmlns:a16="http://schemas.microsoft.com/office/drawing/2014/main" id="{49EF01DA-BBF4-4D67-A902-F4D75A062C25}"/>
                  </a:ext>
                </a:extLst>
              </p:cNvPr>
              <p:cNvSpPr/>
              <p:nvPr/>
            </p:nvSpPr>
            <p:spPr bwMode="auto">
              <a:xfrm>
                <a:off x="4829225" y="3989085"/>
                <a:ext cx="534755" cy="532774"/>
              </a:xfrm>
              <a:custGeom>
                <a:avLst/>
                <a:gdLst>
                  <a:gd name="connsiteX0" fmla="*/ 503895 w 609473"/>
                  <a:gd name="connsiteY0" fmla="*/ 296940 h 607216"/>
                  <a:gd name="connsiteX1" fmla="*/ 511570 w 609473"/>
                  <a:gd name="connsiteY1" fmla="*/ 296940 h 607216"/>
                  <a:gd name="connsiteX2" fmla="*/ 538816 w 609473"/>
                  <a:gd name="connsiteY2" fmla="*/ 296940 h 607216"/>
                  <a:gd name="connsiteX3" fmla="*/ 549465 w 609473"/>
                  <a:gd name="connsiteY3" fmla="*/ 307624 h 607216"/>
                  <a:gd name="connsiteX4" fmla="*/ 549465 w 609473"/>
                  <a:gd name="connsiteY4" fmla="*/ 324202 h 607216"/>
                  <a:gd name="connsiteX5" fmla="*/ 577094 w 609473"/>
                  <a:gd name="connsiteY5" fmla="*/ 338384 h 607216"/>
                  <a:gd name="connsiteX6" fmla="*/ 603717 w 609473"/>
                  <a:gd name="connsiteY6" fmla="*/ 388308 h 607216"/>
                  <a:gd name="connsiteX7" fmla="*/ 594699 w 609473"/>
                  <a:gd name="connsiteY7" fmla="*/ 400381 h 607216"/>
                  <a:gd name="connsiteX8" fmla="*/ 560353 w 609473"/>
                  <a:gd name="connsiteY8" fmla="*/ 405460 h 607216"/>
                  <a:gd name="connsiteX9" fmla="*/ 558771 w 609473"/>
                  <a:gd name="connsiteY9" fmla="*/ 405604 h 607216"/>
                  <a:gd name="connsiteX10" fmla="*/ 548218 w 609473"/>
                  <a:gd name="connsiteY10" fmla="*/ 396548 h 607216"/>
                  <a:gd name="connsiteX11" fmla="*/ 541310 w 609473"/>
                  <a:gd name="connsiteY11" fmla="*/ 378581 h 607216"/>
                  <a:gd name="connsiteX12" fmla="*/ 521067 w 609473"/>
                  <a:gd name="connsiteY12" fmla="*/ 370676 h 607216"/>
                  <a:gd name="connsiteX13" fmla="*/ 511618 w 609473"/>
                  <a:gd name="connsiteY13" fmla="*/ 371922 h 607216"/>
                  <a:gd name="connsiteX14" fmla="*/ 498426 w 609473"/>
                  <a:gd name="connsiteY14" fmla="*/ 379683 h 607216"/>
                  <a:gd name="connsiteX15" fmla="*/ 492574 w 609473"/>
                  <a:gd name="connsiteY15" fmla="*/ 395398 h 607216"/>
                  <a:gd name="connsiteX16" fmla="*/ 497371 w 609473"/>
                  <a:gd name="connsiteY16" fmla="*/ 410395 h 607216"/>
                  <a:gd name="connsiteX17" fmla="*/ 500537 w 609473"/>
                  <a:gd name="connsiteY17" fmla="*/ 413605 h 607216"/>
                  <a:gd name="connsiteX18" fmla="*/ 533731 w 609473"/>
                  <a:gd name="connsiteY18" fmla="*/ 425343 h 607216"/>
                  <a:gd name="connsiteX19" fmla="*/ 563232 w 609473"/>
                  <a:gd name="connsiteY19" fmla="*/ 433536 h 607216"/>
                  <a:gd name="connsiteX20" fmla="*/ 588415 w 609473"/>
                  <a:gd name="connsiteY20" fmla="*/ 450209 h 607216"/>
                  <a:gd name="connsiteX21" fmla="*/ 604149 w 609473"/>
                  <a:gd name="connsiteY21" fmla="*/ 474405 h 607216"/>
                  <a:gd name="connsiteX22" fmla="*/ 609473 w 609473"/>
                  <a:gd name="connsiteY22" fmla="*/ 503583 h 607216"/>
                  <a:gd name="connsiteX23" fmla="*/ 587408 w 609473"/>
                  <a:gd name="connsiteY23" fmla="*/ 560885 h 607216"/>
                  <a:gd name="connsiteX24" fmla="*/ 549465 w 609473"/>
                  <a:gd name="connsiteY24" fmla="*/ 583116 h 607216"/>
                  <a:gd name="connsiteX25" fmla="*/ 549465 w 609473"/>
                  <a:gd name="connsiteY25" fmla="*/ 596532 h 607216"/>
                  <a:gd name="connsiteX26" fmla="*/ 538816 w 609473"/>
                  <a:gd name="connsiteY26" fmla="*/ 607216 h 607216"/>
                  <a:gd name="connsiteX27" fmla="*/ 503991 w 609473"/>
                  <a:gd name="connsiteY27" fmla="*/ 607216 h 607216"/>
                  <a:gd name="connsiteX28" fmla="*/ 493342 w 609473"/>
                  <a:gd name="connsiteY28" fmla="*/ 596532 h 607216"/>
                  <a:gd name="connsiteX29" fmla="*/ 493342 w 609473"/>
                  <a:gd name="connsiteY29" fmla="*/ 582829 h 607216"/>
                  <a:gd name="connsiteX30" fmla="*/ 473819 w 609473"/>
                  <a:gd name="connsiteY30" fmla="*/ 575259 h 607216"/>
                  <a:gd name="connsiteX31" fmla="*/ 446045 w 609473"/>
                  <a:gd name="connsiteY31" fmla="*/ 548907 h 607216"/>
                  <a:gd name="connsiteX32" fmla="*/ 432950 w 609473"/>
                  <a:gd name="connsiteY32" fmla="*/ 506170 h 607216"/>
                  <a:gd name="connsiteX33" fmla="*/ 441776 w 609473"/>
                  <a:gd name="connsiteY33" fmla="*/ 494863 h 607216"/>
                  <a:gd name="connsiteX34" fmla="*/ 475354 w 609473"/>
                  <a:gd name="connsiteY34" fmla="*/ 489018 h 607216"/>
                  <a:gd name="connsiteX35" fmla="*/ 477224 w 609473"/>
                  <a:gd name="connsiteY35" fmla="*/ 488826 h 607216"/>
                  <a:gd name="connsiteX36" fmla="*/ 487777 w 609473"/>
                  <a:gd name="connsiteY36" fmla="*/ 497977 h 607216"/>
                  <a:gd name="connsiteX37" fmla="*/ 496412 w 609473"/>
                  <a:gd name="connsiteY37" fmla="*/ 524377 h 607216"/>
                  <a:gd name="connsiteX38" fmla="*/ 522602 w 609473"/>
                  <a:gd name="connsiteY38" fmla="*/ 536307 h 607216"/>
                  <a:gd name="connsiteX39" fmla="*/ 528071 w 609473"/>
                  <a:gd name="connsiteY39" fmla="*/ 535923 h 607216"/>
                  <a:gd name="connsiteX40" fmla="*/ 546539 w 609473"/>
                  <a:gd name="connsiteY40" fmla="*/ 526197 h 607216"/>
                  <a:gd name="connsiteX41" fmla="*/ 553686 w 609473"/>
                  <a:gd name="connsiteY41" fmla="*/ 505452 h 607216"/>
                  <a:gd name="connsiteX42" fmla="*/ 549273 w 609473"/>
                  <a:gd name="connsiteY42" fmla="*/ 489784 h 607216"/>
                  <a:gd name="connsiteX43" fmla="*/ 519724 w 609473"/>
                  <a:gd name="connsiteY43" fmla="*/ 475986 h 607216"/>
                  <a:gd name="connsiteX44" fmla="*/ 472140 w 609473"/>
                  <a:gd name="connsiteY44" fmla="*/ 459648 h 607216"/>
                  <a:gd name="connsiteX45" fmla="*/ 446429 w 609473"/>
                  <a:gd name="connsiteY45" fmla="*/ 433824 h 607216"/>
                  <a:gd name="connsiteX46" fmla="*/ 439857 w 609473"/>
                  <a:gd name="connsiteY46" fmla="*/ 416767 h 607216"/>
                  <a:gd name="connsiteX47" fmla="*/ 437603 w 609473"/>
                  <a:gd name="connsiteY47" fmla="*/ 397602 h 607216"/>
                  <a:gd name="connsiteX48" fmla="*/ 463218 w 609473"/>
                  <a:gd name="connsiteY48" fmla="*/ 339629 h 607216"/>
                  <a:gd name="connsiteX49" fmla="*/ 493198 w 609473"/>
                  <a:gd name="connsiteY49" fmla="*/ 323962 h 607216"/>
                  <a:gd name="connsiteX50" fmla="*/ 493198 w 609473"/>
                  <a:gd name="connsiteY50" fmla="*/ 307624 h 607216"/>
                  <a:gd name="connsiteX51" fmla="*/ 503895 w 609473"/>
                  <a:gd name="connsiteY51" fmla="*/ 296940 h 607216"/>
                  <a:gd name="connsiteX52" fmla="*/ 382097 w 609473"/>
                  <a:gd name="connsiteY52" fmla="*/ 246415 h 607216"/>
                  <a:gd name="connsiteX53" fmla="*/ 489125 w 609473"/>
                  <a:gd name="connsiteY53" fmla="*/ 246415 h 607216"/>
                  <a:gd name="connsiteX54" fmla="*/ 511528 w 609473"/>
                  <a:gd name="connsiteY54" fmla="*/ 268793 h 607216"/>
                  <a:gd name="connsiteX55" fmla="*/ 511528 w 609473"/>
                  <a:gd name="connsiteY55" fmla="*/ 276891 h 607216"/>
                  <a:gd name="connsiteX56" fmla="*/ 503852 w 609473"/>
                  <a:gd name="connsiteY56" fmla="*/ 276891 h 607216"/>
                  <a:gd name="connsiteX57" fmla="*/ 473150 w 609473"/>
                  <a:gd name="connsiteY57" fmla="*/ 307558 h 607216"/>
                  <a:gd name="connsiteX58" fmla="*/ 473150 w 609473"/>
                  <a:gd name="connsiteY58" fmla="*/ 309858 h 607216"/>
                  <a:gd name="connsiteX59" fmla="*/ 449979 w 609473"/>
                  <a:gd name="connsiteY59" fmla="*/ 324521 h 607216"/>
                  <a:gd name="connsiteX60" fmla="*/ 425657 w 609473"/>
                  <a:gd name="connsiteY60" fmla="*/ 357105 h 607216"/>
                  <a:gd name="connsiteX61" fmla="*/ 417549 w 609473"/>
                  <a:gd name="connsiteY61" fmla="*/ 397452 h 607216"/>
                  <a:gd name="connsiteX62" fmla="*/ 419324 w 609473"/>
                  <a:gd name="connsiteY62" fmla="*/ 416619 h 607216"/>
                  <a:gd name="connsiteX63" fmla="*/ 382097 w 609473"/>
                  <a:gd name="connsiteY63" fmla="*/ 416619 h 607216"/>
                  <a:gd name="connsiteX64" fmla="*/ 359742 w 609473"/>
                  <a:gd name="connsiteY64" fmla="*/ 394289 h 607216"/>
                  <a:gd name="connsiteX65" fmla="*/ 359742 w 609473"/>
                  <a:gd name="connsiteY65" fmla="*/ 268793 h 607216"/>
                  <a:gd name="connsiteX66" fmla="*/ 382097 w 609473"/>
                  <a:gd name="connsiteY66" fmla="*/ 246415 h 607216"/>
                  <a:gd name="connsiteX67" fmla="*/ 22403 w 609473"/>
                  <a:gd name="connsiteY67" fmla="*/ 117844 h 607216"/>
                  <a:gd name="connsiteX68" fmla="*/ 129383 w 609473"/>
                  <a:gd name="connsiteY68" fmla="*/ 117844 h 607216"/>
                  <a:gd name="connsiteX69" fmla="*/ 151786 w 609473"/>
                  <a:gd name="connsiteY69" fmla="*/ 140217 h 607216"/>
                  <a:gd name="connsiteX70" fmla="*/ 151786 w 609473"/>
                  <a:gd name="connsiteY70" fmla="*/ 394316 h 607216"/>
                  <a:gd name="connsiteX71" fmla="*/ 129335 w 609473"/>
                  <a:gd name="connsiteY71" fmla="*/ 416689 h 607216"/>
                  <a:gd name="connsiteX72" fmla="*/ 22403 w 609473"/>
                  <a:gd name="connsiteY72" fmla="*/ 416689 h 607216"/>
                  <a:gd name="connsiteX73" fmla="*/ 0 w 609473"/>
                  <a:gd name="connsiteY73" fmla="*/ 394316 h 607216"/>
                  <a:gd name="connsiteX74" fmla="*/ 0 w 609473"/>
                  <a:gd name="connsiteY74" fmla="*/ 140217 h 607216"/>
                  <a:gd name="connsiteX75" fmla="*/ 22403 w 609473"/>
                  <a:gd name="connsiteY75" fmla="*/ 117844 h 607216"/>
                  <a:gd name="connsiteX76" fmla="*/ 202271 w 609473"/>
                  <a:gd name="connsiteY76" fmla="*/ 0 h 607216"/>
                  <a:gd name="connsiteX77" fmla="*/ 309187 w 609473"/>
                  <a:gd name="connsiteY77" fmla="*/ 0 h 607216"/>
                  <a:gd name="connsiteX78" fmla="*/ 331587 w 609473"/>
                  <a:gd name="connsiteY78" fmla="*/ 22371 h 607216"/>
                  <a:gd name="connsiteX79" fmla="*/ 331587 w 609473"/>
                  <a:gd name="connsiteY79" fmla="*/ 394296 h 607216"/>
                  <a:gd name="connsiteX80" fmla="*/ 309187 w 609473"/>
                  <a:gd name="connsiteY80" fmla="*/ 416619 h 607216"/>
                  <a:gd name="connsiteX81" fmla="*/ 202271 w 609473"/>
                  <a:gd name="connsiteY81" fmla="*/ 416619 h 607216"/>
                  <a:gd name="connsiteX82" fmla="*/ 179871 w 609473"/>
                  <a:gd name="connsiteY82" fmla="*/ 394296 h 607216"/>
                  <a:gd name="connsiteX83" fmla="*/ 179871 w 609473"/>
                  <a:gd name="connsiteY83" fmla="*/ 22371 h 607216"/>
                  <a:gd name="connsiteX84" fmla="*/ 202271 w 609473"/>
                  <a:gd name="connsiteY84" fmla="*/ 0 h 607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609473" h="607216">
                    <a:moveTo>
                      <a:pt x="503895" y="296940"/>
                    </a:moveTo>
                    <a:lnTo>
                      <a:pt x="511570" y="296940"/>
                    </a:lnTo>
                    <a:lnTo>
                      <a:pt x="538816" y="296940"/>
                    </a:lnTo>
                    <a:cubicBezTo>
                      <a:pt x="544668" y="296940"/>
                      <a:pt x="549465" y="301731"/>
                      <a:pt x="549465" y="307624"/>
                    </a:cubicBezTo>
                    <a:lnTo>
                      <a:pt x="549465" y="324202"/>
                    </a:lnTo>
                    <a:cubicBezTo>
                      <a:pt x="560114" y="327268"/>
                      <a:pt x="569563" y="332155"/>
                      <a:pt x="577094" y="338384"/>
                    </a:cubicBezTo>
                    <a:cubicBezTo>
                      <a:pt x="591821" y="350601"/>
                      <a:pt x="600791" y="367418"/>
                      <a:pt x="603717" y="388308"/>
                    </a:cubicBezTo>
                    <a:cubicBezTo>
                      <a:pt x="604532" y="394105"/>
                      <a:pt x="600503" y="399471"/>
                      <a:pt x="594699" y="400381"/>
                    </a:cubicBezTo>
                    <a:lnTo>
                      <a:pt x="560353" y="405460"/>
                    </a:lnTo>
                    <a:cubicBezTo>
                      <a:pt x="559826" y="405556"/>
                      <a:pt x="559250" y="405604"/>
                      <a:pt x="558771" y="405604"/>
                    </a:cubicBezTo>
                    <a:cubicBezTo>
                      <a:pt x="553590" y="405604"/>
                      <a:pt x="549033" y="401819"/>
                      <a:pt x="548218" y="396548"/>
                    </a:cubicBezTo>
                    <a:cubicBezTo>
                      <a:pt x="546970" y="388499"/>
                      <a:pt x="544620" y="382271"/>
                      <a:pt x="541310" y="378581"/>
                    </a:cubicBezTo>
                    <a:cubicBezTo>
                      <a:pt x="536801" y="373551"/>
                      <a:pt x="529414" y="370676"/>
                      <a:pt x="521067" y="370676"/>
                    </a:cubicBezTo>
                    <a:cubicBezTo>
                      <a:pt x="517806" y="370676"/>
                      <a:pt x="514640" y="371107"/>
                      <a:pt x="511618" y="371922"/>
                    </a:cubicBezTo>
                    <a:cubicBezTo>
                      <a:pt x="506293" y="373407"/>
                      <a:pt x="501640" y="376090"/>
                      <a:pt x="498426" y="379683"/>
                    </a:cubicBezTo>
                    <a:cubicBezTo>
                      <a:pt x="494397" y="384139"/>
                      <a:pt x="492574" y="389122"/>
                      <a:pt x="492574" y="395398"/>
                    </a:cubicBezTo>
                    <a:cubicBezTo>
                      <a:pt x="492574" y="401579"/>
                      <a:pt x="494157" y="406514"/>
                      <a:pt x="497371" y="410395"/>
                    </a:cubicBezTo>
                    <a:cubicBezTo>
                      <a:pt x="498331" y="411545"/>
                      <a:pt x="499386" y="412647"/>
                      <a:pt x="500537" y="413605"/>
                    </a:cubicBezTo>
                    <a:cubicBezTo>
                      <a:pt x="508548" y="420313"/>
                      <a:pt x="520828" y="422708"/>
                      <a:pt x="533731" y="425343"/>
                    </a:cubicBezTo>
                    <a:cubicBezTo>
                      <a:pt x="543613" y="427308"/>
                      <a:pt x="553830" y="429368"/>
                      <a:pt x="563232" y="433536"/>
                    </a:cubicBezTo>
                    <a:cubicBezTo>
                      <a:pt x="573353" y="437992"/>
                      <a:pt x="581843" y="443598"/>
                      <a:pt x="588415" y="450209"/>
                    </a:cubicBezTo>
                    <a:cubicBezTo>
                      <a:pt x="595130" y="456965"/>
                      <a:pt x="600407" y="465014"/>
                      <a:pt x="604149" y="474405"/>
                    </a:cubicBezTo>
                    <a:cubicBezTo>
                      <a:pt x="607698" y="483412"/>
                      <a:pt x="609473" y="493234"/>
                      <a:pt x="609473" y="503583"/>
                    </a:cubicBezTo>
                    <a:cubicBezTo>
                      <a:pt x="609473" y="526293"/>
                      <a:pt x="602038" y="545554"/>
                      <a:pt x="587408" y="560885"/>
                    </a:cubicBezTo>
                    <a:cubicBezTo>
                      <a:pt x="577382" y="571426"/>
                      <a:pt x="564383" y="578996"/>
                      <a:pt x="549465" y="583116"/>
                    </a:cubicBezTo>
                    <a:lnTo>
                      <a:pt x="549465" y="596532"/>
                    </a:lnTo>
                    <a:cubicBezTo>
                      <a:pt x="549465" y="602425"/>
                      <a:pt x="544668" y="607216"/>
                      <a:pt x="538816" y="607216"/>
                    </a:cubicBezTo>
                    <a:lnTo>
                      <a:pt x="503991" y="607216"/>
                    </a:lnTo>
                    <a:cubicBezTo>
                      <a:pt x="498139" y="607216"/>
                      <a:pt x="493342" y="602425"/>
                      <a:pt x="493342" y="596532"/>
                    </a:cubicBezTo>
                    <a:lnTo>
                      <a:pt x="493342" y="582829"/>
                    </a:lnTo>
                    <a:cubicBezTo>
                      <a:pt x="486482" y="580960"/>
                      <a:pt x="479959" y="578421"/>
                      <a:pt x="473819" y="575259"/>
                    </a:cubicBezTo>
                    <a:cubicBezTo>
                      <a:pt x="463026" y="569701"/>
                      <a:pt x="453672" y="560837"/>
                      <a:pt x="446045" y="548907"/>
                    </a:cubicBezTo>
                    <a:cubicBezTo>
                      <a:pt x="438514" y="537073"/>
                      <a:pt x="434101" y="522700"/>
                      <a:pt x="432950" y="506170"/>
                    </a:cubicBezTo>
                    <a:cubicBezTo>
                      <a:pt x="432566" y="500660"/>
                      <a:pt x="436403" y="495821"/>
                      <a:pt x="441776" y="494863"/>
                    </a:cubicBezTo>
                    <a:lnTo>
                      <a:pt x="475354" y="489018"/>
                    </a:lnTo>
                    <a:cubicBezTo>
                      <a:pt x="475977" y="488922"/>
                      <a:pt x="476553" y="488826"/>
                      <a:pt x="477224" y="488826"/>
                    </a:cubicBezTo>
                    <a:cubicBezTo>
                      <a:pt x="482405" y="488826"/>
                      <a:pt x="487010" y="492659"/>
                      <a:pt x="487777" y="497977"/>
                    </a:cubicBezTo>
                    <a:cubicBezTo>
                      <a:pt x="489984" y="513501"/>
                      <a:pt x="493726" y="520927"/>
                      <a:pt x="496412" y="524377"/>
                    </a:cubicBezTo>
                    <a:cubicBezTo>
                      <a:pt x="502216" y="531851"/>
                      <a:pt x="512001" y="536307"/>
                      <a:pt x="522602" y="536307"/>
                    </a:cubicBezTo>
                    <a:cubicBezTo>
                      <a:pt x="524473" y="536307"/>
                      <a:pt x="526248" y="536163"/>
                      <a:pt x="528071" y="535923"/>
                    </a:cubicBezTo>
                    <a:cubicBezTo>
                      <a:pt x="535458" y="534774"/>
                      <a:pt x="542078" y="531324"/>
                      <a:pt x="546539" y="526197"/>
                    </a:cubicBezTo>
                    <a:cubicBezTo>
                      <a:pt x="551335" y="520735"/>
                      <a:pt x="553686" y="513884"/>
                      <a:pt x="553686" y="505452"/>
                    </a:cubicBezTo>
                    <a:cubicBezTo>
                      <a:pt x="553686" y="498696"/>
                      <a:pt x="552247" y="493378"/>
                      <a:pt x="549273" y="489784"/>
                    </a:cubicBezTo>
                    <a:cubicBezTo>
                      <a:pt x="543037" y="482119"/>
                      <a:pt x="530805" y="478477"/>
                      <a:pt x="519724" y="475986"/>
                    </a:cubicBezTo>
                    <a:cubicBezTo>
                      <a:pt x="502983" y="472249"/>
                      <a:pt x="487825" y="468416"/>
                      <a:pt x="472140" y="459648"/>
                    </a:cubicBezTo>
                    <a:cubicBezTo>
                      <a:pt x="461107" y="453467"/>
                      <a:pt x="452473" y="444748"/>
                      <a:pt x="446429" y="433824"/>
                    </a:cubicBezTo>
                    <a:cubicBezTo>
                      <a:pt x="443503" y="428458"/>
                      <a:pt x="441344" y="422804"/>
                      <a:pt x="439857" y="416767"/>
                    </a:cubicBezTo>
                    <a:cubicBezTo>
                      <a:pt x="438370" y="410730"/>
                      <a:pt x="437603" y="404310"/>
                      <a:pt x="437603" y="397602"/>
                    </a:cubicBezTo>
                    <a:cubicBezTo>
                      <a:pt x="437603" y="373982"/>
                      <a:pt x="446237" y="354434"/>
                      <a:pt x="463218" y="339629"/>
                    </a:cubicBezTo>
                    <a:cubicBezTo>
                      <a:pt x="471276" y="332538"/>
                      <a:pt x="481494" y="327220"/>
                      <a:pt x="493198" y="323962"/>
                    </a:cubicBezTo>
                    <a:lnTo>
                      <a:pt x="493198" y="307624"/>
                    </a:lnTo>
                    <a:cubicBezTo>
                      <a:pt x="493198" y="301731"/>
                      <a:pt x="497995" y="296940"/>
                      <a:pt x="503895" y="296940"/>
                    </a:cubicBezTo>
                    <a:close/>
                    <a:moveTo>
                      <a:pt x="382097" y="246415"/>
                    </a:moveTo>
                    <a:lnTo>
                      <a:pt x="489125" y="246415"/>
                    </a:lnTo>
                    <a:cubicBezTo>
                      <a:pt x="501454" y="246415"/>
                      <a:pt x="511528" y="256478"/>
                      <a:pt x="511528" y="268793"/>
                    </a:cubicBezTo>
                    <a:lnTo>
                      <a:pt x="511528" y="276891"/>
                    </a:lnTo>
                    <a:lnTo>
                      <a:pt x="503852" y="276891"/>
                    </a:lnTo>
                    <a:cubicBezTo>
                      <a:pt x="486870" y="276891"/>
                      <a:pt x="473150" y="290643"/>
                      <a:pt x="473150" y="307558"/>
                    </a:cubicBezTo>
                    <a:lnTo>
                      <a:pt x="473150" y="309858"/>
                    </a:lnTo>
                    <a:cubicBezTo>
                      <a:pt x="464515" y="313692"/>
                      <a:pt x="456743" y="318627"/>
                      <a:pt x="449979" y="324521"/>
                    </a:cubicBezTo>
                    <a:cubicBezTo>
                      <a:pt x="439281" y="333769"/>
                      <a:pt x="431126" y="344838"/>
                      <a:pt x="425657" y="357105"/>
                    </a:cubicBezTo>
                    <a:cubicBezTo>
                      <a:pt x="420284" y="369276"/>
                      <a:pt x="417549" y="382885"/>
                      <a:pt x="417549" y="397452"/>
                    </a:cubicBezTo>
                    <a:cubicBezTo>
                      <a:pt x="417549" y="404112"/>
                      <a:pt x="418173" y="410486"/>
                      <a:pt x="419324" y="416619"/>
                    </a:cubicBezTo>
                    <a:lnTo>
                      <a:pt x="382097" y="416619"/>
                    </a:lnTo>
                    <a:cubicBezTo>
                      <a:pt x="369768" y="416619"/>
                      <a:pt x="359742" y="406604"/>
                      <a:pt x="359742" y="394289"/>
                    </a:cubicBezTo>
                    <a:lnTo>
                      <a:pt x="359742" y="268793"/>
                    </a:lnTo>
                    <a:cubicBezTo>
                      <a:pt x="359742" y="256478"/>
                      <a:pt x="369768" y="246415"/>
                      <a:pt x="382097" y="246415"/>
                    </a:cubicBezTo>
                    <a:close/>
                    <a:moveTo>
                      <a:pt x="22403" y="117844"/>
                    </a:moveTo>
                    <a:lnTo>
                      <a:pt x="129383" y="117844"/>
                    </a:lnTo>
                    <a:cubicBezTo>
                      <a:pt x="141760" y="117844"/>
                      <a:pt x="151786" y="127905"/>
                      <a:pt x="151786" y="140217"/>
                    </a:cubicBezTo>
                    <a:lnTo>
                      <a:pt x="151786" y="394316"/>
                    </a:lnTo>
                    <a:cubicBezTo>
                      <a:pt x="151786" y="406629"/>
                      <a:pt x="141760" y="416689"/>
                      <a:pt x="129335" y="416689"/>
                    </a:cubicBezTo>
                    <a:lnTo>
                      <a:pt x="22403" y="416689"/>
                    </a:lnTo>
                    <a:cubicBezTo>
                      <a:pt x="10026" y="416689"/>
                      <a:pt x="0" y="406629"/>
                      <a:pt x="0" y="394316"/>
                    </a:cubicBezTo>
                    <a:lnTo>
                      <a:pt x="0" y="140217"/>
                    </a:lnTo>
                    <a:cubicBezTo>
                      <a:pt x="0" y="127905"/>
                      <a:pt x="10026" y="117844"/>
                      <a:pt x="22403" y="117844"/>
                    </a:cubicBezTo>
                    <a:close/>
                    <a:moveTo>
                      <a:pt x="202271" y="0"/>
                    </a:moveTo>
                    <a:lnTo>
                      <a:pt x="309187" y="0"/>
                    </a:lnTo>
                    <a:cubicBezTo>
                      <a:pt x="321562" y="0"/>
                      <a:pt x="331587" y="10012"/>
                      <a:pt x="331587" y="22371"/>
                    </a:cubicBezTo>
                    <a:lnTo>
                      <a:pt x="331587" y="394296"/>
                    </a:lnTo>
                    <a:cubicBezTo>
                      <a:pt x="331587" y="406607"/>
                      <a:pt x="321562" y="416619"/>
                      <a:pt x="309187" y="416619"/>
                    </a:cubicBezTo>
                    <a:lnTo>
                      <a:pt x="202271" y="416619"/>
                    </a:lnTo>
                    <a:cubicBezTo>
                      <a:pt x="189944" y="416619"/>
                      <a:pt x="179871" y="406607"/>
                      <a:pt x="179871" y="394296"/>
                    </a:cubicBezTo>
                    <a:lnTo>
                      <a:pt x="179871" y="22371"/>
                    </a:lnTo>
                    <a:cubicBezTo>
                      <a:pt x="179871" y="10012"/>
                      <a:pt x="189944" y="0"/>
                      <a:pt x="20227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 sz="2400"/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23BD9E6A-E1BB-464B-97B5-304E08CC6264}"/>
                </a:ext>
              </a:extLst>
            </p:cNvPr>
            <p:cNvGrpSpPr/>
            <p:nvPr/>
          </p:nvGrpSpPr>
          <p:grpSpPr>
            <a:xfrm>
              <a:off x="719137" y="1648088"/>
              <a:ext cx="3176147" cy="1378371"/>
              <a:chOff x="719137" y="2442364"/>
              <a:chExt cx="5376847" cy="1378371"/>
            </a:xfrm>
          </p:grpSpPr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5DFE3067-7F8B-4D7D-AC04-8B1BEB8E14DA}"/>
                  </a:ext>
                </a:extLst>
              </p:cNvPr>
              <p:cNvSpPr/>
              <p:nvPr/>
            </p:nvSpPr>
            <p:spPr bwMode="auto">
              <a:xfrm>
                <a:off x="719137" y="2884168"/>
                <a:ext cx="5376845" cy="9365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Supporting text here. </a:t>
                </a: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  <a:endParaRPr lang="zh-CN" altLang="en-US" sz="1100" dirty="0"/>
              </a:p>
            </p:txBody>
          </p:sp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F5DA7207-EC96-4F2C-94C3-4E1D06EF2273}"/>
                  </a:ext>
                </a:extLst>
              </p:cNvPr>
              <p:cNvSpPr txBox="1"/>
              <p:nvPr/>
            </p:nvSpPr>
            <p:spPr bwMode="auto">
              <a:xfrm>
                <a:off x="719137" y="2442364"/>
                <a:ext cx="537684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000" b="1" dirty="0"/>
                  <a:t>…</a:t>
                </a:r>
                <a:r>
                  <a:rPr lang="zh-CN" altLang="en-US" sz="2000" b="1" dirty="0"/>
                  <a:t>成绩</a:t>
                </a:r>
                <a:endParaRPr lang="en-US" altLang="zh-CN" sz="2000" b="1" dirty="0"/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F021A394-7F04-4ECC-B5C2-29165ED58318}"/>
                </a:ext>
              </a:extLst>
            </p:cNvPr>
            <p:cNvGrpSpPr/>
            <p:nvPr/>
          </p:nvGrpSpPr>
          <p:grpSpPr>
            <a:xfrm>
              <a:off x="719137" y="3773795"/>
              <a:ext cx="3176147" cy="1378371"/>
              <a:chOff x="719137" y="2442364"/>
              <a:chExt cx="5376847" cy="1378371"/>
            </a:xfrm>
          </p:grpSpPr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53C084BB-CF0B-471F-9009-3D061584AB8B}"/>
                  </a:ext>
                </a:extLst>
              </p:cNvPr>
              <p:cNvSpPr/>
              <p:nvPr/>
            </p:nvSpPr>
            <p:spPr bwMode="auto">
              <a:xfrm>
                <a:off x="719137" y="2884168"/>
                <a:ext cx="5376845" cy="9365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Supporting text here. </a:t>
                </a: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  <a:endParaRPr lang="zh-CN" altLang="en-US" sz="1100" dirty="0"/>
              </a:p>
            </p:txBody>
          </p:sp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A3553F11-A43B-40C7-AB5D-652C6B9B1115}"/>
                  </a:ext>
                </a:extLst>
              </p:cNvPr>
              <p:cNvSpPr txBox="1"/>
              <p:nvPr/>
            </p:nvSpPr>
            <p:spPr bwMode="auto">
              <a:xfrm>
                <a:off x="719137" y="2442364"/>
                <a:ext cx="537684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2000" b="1" dirty="0"/>
                  <a:t>…</a:t>
                </a:r>
                <a:r>
                  <a:rPr lang="zh-CN" altLang="en-US" sz="2000" b="1" dirty="0"/>
                  <a:t>成绩</a:t>
                </a:r>
                <a:endParaRPr lang="en-US" altLang="zh-CN" sz="2000" b="1" dirty="0"/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2B5B7A82-0AB7-4CB4-AADA-33442B6C0582}"/>
                </a:ext>
              </a:extLst>
            </p:cNvPr>
            <p:cNvGrpSpPr/>
            <p:nvPr/>
          </p:nvGrpSpPr>
          <p:grpSpPr>
            <a:xfrm>
              <a:off x="8345141" y="1648088"/>
              <a:ext cx="3176147" cy="1378371"/>
              <a:chOff x="719137" y="2442364"/>
              <a:chExt cx="5376847" cy="1378371"/>
            </a:xfrm>
          </p:grpSpPr>
          <p:sp>
            <p:nvSpPr>
              <p:cNvPr id="15" name="矩形 14">
                <a:extLst>
                  <a:ext uri="{FF2B5EF4-FFF2-40B4-BE49-F238E27FC236}">
                    <a16:creationId xmlns:a16="http://schemas.microsoft.com/office/drawing/2014/main" id="{DB6FAD5B-8246-42BD-B548-99EF51C00976}"/>
                  </a:ext>
                </a:extLst>
              </p:cNvPr>
              <p:cNvSpPr/>
              <p:nvPr/>
            </p:nvSpPr>
            <p:spPr bwMode="auto">
              <a:xfrm>
                <a:off x="719137" y="2884168"/>
                <a:ext cx="5376845" cy="9365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 algn="r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Supporting text here. </a:t>
                </a:r>
              </a:p>
              <a:p>
                <a:pPr marL="171450" indent="-171450" algn="r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  <a:endParaRPr lang="zh-CN" altLang="en-US" sz="1100" dirty="0"/>
              </a:p>
            </p:txBody>
          </p:sp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46B78935-7789-4466-96EA-1FB2A46BA82C}"/>
                  </a:ext>
                </a:extLst>
              </p:cNvPr>
              <p:cNvSpPr txBox="1"/>
              <p:nvPr/>
            </p:nvSpPr>
            <p:spPr bwMode="auto">
              <a:xfrm>
                <a:off x="719137" y="2442364"/>
                <a:ext cx="537684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sz="2000" b="1" dirty="0"/>
                  <a:t>…</a:t>
                </a:r>
                <a:r>
                  <a:rPr lang="zh-CN" altLang="en-US" sz="2000" b="1" dirty="0"/>
                  <a:t>成绩</a:t>
                </a:r>
                <a:endParaRPr lang="en-US" altLang="zh-CN" sz="2000" b="1" dirty="0"/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AD05EAF1-48F3-47B6-B299-5D47EE086260}"/>
                </a:ext>
              </a:extLst>
            </p:cNvPr>
            <p:cNvGrpSpPr/>
            <p:nvPr/>
          </p:nvGrpSpPr>
          <p:grpSpPr>
            <a:xfrm>
              <a:off x="8345141" y="3773795"/>
              <a:ext cx="3176147" cy="1378371"/>
              <a:chOff x="719137" y="2442364"/>
              <a:chExt cx="5376847" cy="1378371"/>
            </a:xfrm>
          </p:grpSpPr>
          <p:sp>
            <p:nvSpPr>
              <p:cNvPr id="13" name="矩形 12">
                <a:extLst>
                  <a:ext uri="{FF2B5EF4-FFF2-40B4-BE49-F238E27FC236}">
                    <a16:creationId xmlns:a16="http://schemas.microsoft.com/office/drawing/2014/main" id="{B577B08A-1856-414D-9DEE-D11D25CCBDD9}"/>
                  </a:ext>
                </a:extLst>
              </p:cNvPr>
              <p:cNvSpPr/>
              <p:nvPr/>
            </p:nvSpPr>
            <p:spPr bwMode="auto">
              <a:xfrm>
                <a:off x="719137" y="2884168"/>
                <a:ext cx="5376845" cy="93656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 algn="r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Supporting text here. </a:t>
                </a:r>
              </a:p>
              <a:p>
                <a:pPr marL="171450" indent="-171450" algn="r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  <a:endParaRPr lang="zh-CN" altLang="en-US" sz="1100" dirty="0"/>
              </a:p>
            </p:txBody>
          </p:sp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48959D31-9682-483F-BC76-B507AF1EAA96}"/>
                  </a:ext>
                </a:extLst>
              </p:cNvPr>
              <p:cNvSpPr txBox="1"/>
              <p:nvPr/>
            </p:nvSpPr>
            <p:spPr bwMode="auto">
              <a:xfrm>
                <a:off x="719137" y="2442364"/>
                <a:ext cx="537684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sz="2000" b="1" dirty="0"/>
                  <a:t>…</a:t>
                </a:r>
                <a:r>
                  <a:rPr lang="zh-CN" altLang="en-US" sz="2000" b="1" dirty="0"/>
                  <a:t>成绩</a:t>
                </a:r>
                <a:endParaRPr lang="en-US" altLang="zh-CN" sz="2000" b="1" dirty="0"/>
              </a:p>
            </p:txBody>
          </p:sp>
        </p:grpSp>
        <p:cxnSp>
          <p:nvCxnSpPr>
            <p:cNvPr id="11" name="直接连接符 10">
              <a:extLst>
                <a:ext uri="{FF2B5EF4-FFF2-40B4-BE49-F238E27FC236}">
                  <a16:creationId xmlns:a16="http://schemas.microsoft.com/office/drawing/2014/main" id="{9B703949-9980-4A0B-993F-FB1135D77FAE}"/>
                </a:ext>
              </a:extLst>
            </p:cNvPr>
            <p:cNvCxnSpPr/>
            <p:nvPr/>
          </p:nvCxnSpPr>
          <p:spPr>
            <a:xfrm>
              <a:off x="669925" y="3294000"/>
              <a:ext cx="3123516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id="{21AB313C-9A48-4E79-BC25-BC34535C1720}"/>
                </a:ext>
              </a:extLst>
            </p:cNvPr>
            <p:cNvCxnSpPr>
              <a:cxnSpLocks/>
            </p:cNvCxnSpPr>
            <p:nvPr/>
          </p:nvCxnSpPr>
          <p:spPr>
            <a:xfrm>
              <a:off x="8397771" y="3294000"/>
              <a:ext cx="3123516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96363771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经验终结教训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zh-CN" altLang="en-US" dirty="0"/>
              <a:t>项目情况   执行过程   存在问题</a:t>
            </a:r>
            <a:endParaRPr lang="en-US" altLang="zh-CN" dirty="0"/>
          </a:p>
          <a:p>
            <a:pPr>
              <a:defRPr/>
            </a:pPr>
            <a:r>
              <a:rPr lang="zh-CN" altLang="en-US" dirty="0"/>
              <a:t>解决问题   总结经验</a:t>
            </a:r>
            <a:endParaRPr lang="en-US" altLang="zh-CN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766951" y="330180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577461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41AA3C8-C5E9-44F7-B137-314864894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项目情况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D1A760A-3469-4958-974A-8AA7CCF673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OfficePLUS </a:t>
            </a:r>
            <a:r>
              <a:rPr lang="zh-CN" altLang="en-US"/>
              <a:t>「 让</a:t>
            </a:r>
            <a:r>
              <a:rPr lang="en-US" altLang="zh-CN" dirty="0"/>
              <a:t>PPT</a:t>
            </a:r>
            <a:r>
              <a:rPr lang="zh-CN" altLang="en-US"/>
              <a:t>设计简单起来！」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B14F651-F71A-4585-B353-C6DC1287B4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2</a:t>
            </a:fld>
            <a:endParaRPr lang="zh-CN" altLang="en-US"/>
          </a:p>
        </p:txBody>
      </p:sp>
      <p:sp>
        <p:nvSpPr>
          <p:cNvPr id="31" name="任意多边形: 形状 30">
            <a:extLst>
              <a:ext uri="{FF2B5EF4-FFF2-40B4-BE49-F238E27FC236}">
                <a16:creationId xmlns:a16="http://schemas.microsoft.com/office/drawing/2014/main" id="{3B0FC258-E096-406E-9873-0BCC1EDD5209}"/>
              </a:ext>
            </a:extLst>
          </p:cNvPr>
          <p:cNvSpPr/>
          <p:nvPr/>
        </p:nvSpPr>
        <p:spPr>
          <a:xfrm>
            <a:off x="5646000" y="1152524"/>
            <a:ext cx="5874488" cy="4989830"/>
          </a:xfrm>
          <a:custGeom>
            <a:avLst/>
            <a:gdLst>
              <a:gd name="connsiteX0" fmla="*/ 0 w 5874488"/>
              <a:gd name="connsiteY0" fmla="*/ 2051475 h 4989830"/>
              <a:gd name="connsiteX1" fmla="*/ 1516436 w 5874488"/>
              <a:gd name="connsiteY1" fmla="*/ 2051475 h 4989830"/>
              <a:gd name="connsiteX2" fmla="*/ 1516436 w 5874488"/>
              <a:gd name="connsiteY2" fmla="*/ 4989830 h 4989830"/>
              <a:gd name="connsiteX3" fmla="*/ 0 w 5874488"/>
              <a:gd name="connsiteY3" fmla="*/ 4989830 h 4989830"/>
              <a:gd name="connsiteX4" fmla="*/ 1583237 w 5874488"/>
              <a:gd name="connsiteY4" fmla="*/ 926475 h 4989830"/>
              <a:gd name="connsiteX5" fmla="*/ 3526819 w 5874488"/>
              <a:gd name="connsiteY5" fmla="*/ 926475 h 4989830"/>
              <a:gd name="connsiteX6" fmla="*/ 3526819 w 5874488"/>
              <a:gd name="connsiteY6" fmla="*/ 4989829 h 4989830"/>
              <a:gd name="connsiteX7" fmla="*/ 1583237 w 5874488"/>
              <a:gd name="connsiteY7" fmla="*/ 4989829 h 4989830"/>
              <a:gd name="connsiteX8" fmla="*/ 3593620 w 5874488"/>
              <a:gd name="connsiteY8" fmla="*/ 0 h 4989830"/>
              <a:gd name="connsiteX9" fmla="*/ 5874488 w 5874488"/>
              <a:gd name="connsiteY9" fmla="*/ 0 h 4989830"/>
              <a:gd name="connsiteX10" fmla="*/ 5874488 w 5874488"/>
              <a:gd name="connsiteY10" fmla="*/ 4989830 h 4989830"/>
              <a:gd name="connsiteX11" fmla="*/ 3593620 w 5874488"/>
              <a:gd name="connsiteY11" fmla="*/ 4989830 h 4989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74488" h="4989830">
                <a:moveTo>
                  <a:pt x="0" y="2051475"/>
                </a:moveTo>
                <a:lnTo>
                  <a:pt x="1516436" y="2051475"/>
                </a:lnTo>
                <a:lnTo>
                  <a:pt x="1516436" y="4989830"/>
                </a:lnTo>
                <a:lnTo>
                  <a:pt x="0" y="4989830"/>
                </a:lnTo>
                <a:close/>
                <a:moveTo>
                  <a:pt x="1583237" y="926475"/>
                </a:moveTo>
                <a:lnTo>
                  <a:pt x="3526819" y="926475"/>
                </a:lnTo>
                <a:lnTo>
                  <a:pt x="3526819" y="4989829"/>
                </a:lnTo>
                <a:lnTo>
                  <a:pt x="1583237" y="4989829"/>
                </a:lnTo>
                <a:close/>
                <a:moveTo>
                  <a:pt x="3593620" y="0"/>
                </a:moveTo>
                <a:lnTo>
                  <a:pt x="5874488" y="0"/>
                </a:lnTo>
                <a:lnTo>
                  <a:pt x="5874488" y="4989830"/>
                </a:lnTo>
                <a:lnTo>
                  <a:pt x="3593620" y="4989830"/>
                </a:lnTo>
                <a:close/>
              </a:path>
            </a:pathLst>
          </a:custGeom>
          <a:blipFill>
            <a:blip r:embed="rId2"/>
            <a:stretch>
              <a:fillRect l="-25558" r="-25448"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/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CD9C3DA7-BC14-4E37-9341-93D6BF96E320}"/>
              </a:ext>
            </a:extLst>
          </p:cNvPr>
          <p:cNvGrpSpPr/>
          <p:nvPr/>
        </p:nvGrpSpPr>
        <p:grpSpPr>
          <a:xfrm>
            <a:off x="691075" y="1202654"/>
            <a:ext cx="4508638" cy="1382273"/>
            <a:chOff x="7013437" y="1202654"/>
            <a:chExt cx="4508638" cy="1382273"/>
          </a:xfrm>
        </p:grpSpPr>
        <p:grpSp>
          <p:nvGrpSpPr>
            <p:cNvPr id="24" name="组合 23">
              <a:extLst>
                <a:ext uri="{FF2B5EF4-FFF2-40B4-BE49-F238E27FC236}">
                  <a16:creationId xmlns:a16="http://schemas.microsoft.com/office/drawing/2014/main" id="{466F78BC-2CD4-40F2-8A7F-8F61C4080C76}"/>
                </a:ext>
              </a:extLst>
            </p:cNvPr>
            <p:cNvGrpSpPr/>
            <p:nvPr/>
          </p:nvGrpSpPr>
          <p:grpSpPr>
            <a:xfrm>
              <a:off x="7013437" y="1321806"/>
              <a:ext cx="814912" cy="814910"/>
              <a:chOff x="683975" y="1866715"/>
              <a:chExt cx="577851" cy="577851"/>
            </a:xfrm>
          </p:grpSpPr>
          <p:sp>
            <p:nvSpPr>
              <p:cNvPr id="27" name="矩形: 圆角 26">
                <a:extLst>
                  <a:ext uri="{FF2B5EF4-FFF2-40B4-BE49-F238E27FC236}">
                    <a16:creationId xmlns:a16="http://schemas.microsoft.com/office/drawing/2014/main" id="{26A00E75-9CAC-46B2-9B16-0AB48C32A1B8}"/>
                  </a:ext>
                </a:extLst>
              </p:cNvPr>
              <p:cNvSpPr/>
              <p:nvPr/>
            </p:nvSpPr>
            <p:spPr>
              <a:xfrm>
                <a:off x="683975" y="1866715"/>
                <a:ext cx="577851" cy="577851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38100" cap="flat">
                <a:solidFill>
                  <a:schemeClr val="bg1"/>
                </a:solidFill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>
                  <a:defRPr sz="3200"/>
                </a:pPr>
                <a:endParaRPr sz="1600" dirty="0"/>
              </a:p>
            </p:txBody>
          </p:sp>
          <p:sp>
            <p:nvSpPr>
              <p:cNvPr id="28" name="任意多边形: 形状 27">
                <a:extLst>
                  <a:ext uri="{FF2B5EF4-FFF2-40B4-BE49-F238E27FC236}">
                    <a16:creationId xmlns:a16="http://schemas.microsoft.com/office/drawing/2014/main" id="{0FDD3452-F0D7-40E8-AD46-59D987DE2273}"/>
                  </a:ext>
                </a:extLst>
              </p:cNvPr>
              <p:cNvSpPr/>
              <p:nvPr/>
            </p:nvSpPr>
            <p:spPr>
              <a:xfrm>
                <a:off x="831997" y="2024253"/>
                <a:ext cx="281804" cy="262772"/>
              </a:xfrm>
              <a:custGeom>
                <a:avLst/>
                <a:gdLst>
                  <a:gd name="T0" fmla="*/ 3958 w 4630"/>
                  <a:gd name="T1" fmla="*/ 1193 h 4324"/>
                  <a:gd name="T2" fmla="*/ 3772 w 4630"/>
                  <a:gd name="T3" fmla="*/ 1223 h 4324"/>
                  <a:gd name="T4" fmla="*/ 3358 w 4630"/>
                  <a:gd name="T5" fmla="*/ 1778 h 4324"/>
                  <a:gd name="T6" fmla="*/ 3055 w 4630"/>
                  <a:gd name="T7" fmla="*/ 1876 h 4324"/>
                  <a:gd name="T8" fmla="*/ 2515 w 4630"/>
                  <a:gd name="T9" fmla="*/ 1484 h 4324"/>
                  <a:gd name="T10" fmla="*/ 2515 w 4630"/>
                  <a:gd name="T11" fmla="*/ 1166 h 4324"/>
                  <a:gd name="T12" fmla="*/ 2915 w 4630"/>
                  <a:gd name="T13" fmla="*/ 600 h 4324"/>
                  <a:gd name="T14" fmla="*/ 2315 w 4630"/>
                  <a:gd name="T15" fmla="*/ 0 h 4324"/>
                  <a:gd name="T16" fmla="*/ 1715 w 4630"/>
                  <a:gd name="T17" fmla="*/ 600 h 4324"/>
                  <a:gd name="T18" fmla="*/ 2115 w 4630"/>
                  <a:gd name="T19" fmla="*/ 1166 h 4324"/>
                  <a:gd name="T20" fmla="*/ 2115 w 4630"/>
                  <a:gd name="T21" fmla="*/ 1484 h 4324"/>
                  <a:gd name="T22" fmla="*/ 1575 w 4630"/>
                  <a:gd name="T23" fmla="*/ 1877 h 4324"/>
                  <a:gd name="T24" fmla="*/ 1273 w 4630"/>
                  <a:gd name="T25" fmla="*/ 1778 h 4324"/>
                  <a:gd name="T26" fmla="*/ 858 w 4630"/>
                  <a:gd name="T27" fmla="*/ 1223 h 4324"/>
                  <a:gd name="T28" fmla="*/ 673 w 4630"/>
                  <a:gd name="T29" fmla="*/ 1193 h 4324"/>
                  <a:gd name="T30" fmla="*/ 102 w 4630"/>
                  <a:gd name="T31" fmla="*/ 1608 h 4324"/>
                  <a:gd name="T32" fmla="*/ 488 w 4630"/>
                  <a:gd name="T33" fmla="*/ 2364 h 4324"/>
                  <a:gd name="T34" fmla="*/ 673 w 4630"/>
                  <a:gd name="T35" fmla="*/ 2394 h 4324"/>
                  <a:gd name="T36" fmla="*/ 1149 w 4630"/>
                  <a:gd name="T37" fmla="*/ 2159 h 4324"/>
                  <a:gd name="T38" fmla="*/ 1452 w 4630"/>
                  <a:gd name="T39" fmla="*/ 2258 h 4324"/>
                  <a:gd name="T40" fmla="*/ 1449 w 4630"/>
                  <a:gd name="T41" fmla="*/ 2327 h 4324"/>
                  <a:gd name="T42" fmla="*/ 1658 w 4630"/>
                  <a:gd name="T43" fmla="*/ 2891 h 4324"/>
                  <a:gd name="T44" fmla="*/ 1471 w 4630"/>
                  <a:gd name="T45" fmla="*/ 3149 h 4324"/>
                  <a:gd name="T46" fmla="*/ 1301 w 4630"/>
                  <a:gd name="T47" fmla="*/ 3124 h 4324"/>
                  <a:gd name="T48" fmla="*/ 815 w 4630"/>
                  <a:gd name="T49" fmla="*/ 3371 h 4324"/>
                  <a:gd name="T50" fmla="*/ 948 w 4630"/>
                  <a:gd name="T51" fmla="*/ 4209 h 4324"/>
                  <a:gd name="T52" fmla="*/ 1300 w 4630"/>
                  <a:gd name="T53" fmla="*/ 4324 h 4324"/>
                  <a:gd name="T54" fmla="*/ 1786 w 4630"/>
                  <a:gd name="T55" fmla="*/ 4077 h 4324"/>
                  <a:gd name="T56" fmla="*/ 1795 w 4630"/>
                  <a:gd name="T57" fmla="*/ 3384 h 4324"/>
                  <a:gd name="T58" fmla="*/ 1981 w 4630"/>
                  <a:gd name="T59" fmla="*/ 3127 h 4324"/>
                  <a:gd name="T60" fmla="*/ 2315 w 4630"/>
                  <a:gd name="T61" fmla="*/ 3194 h 4324"/>
                  <a:gd name="T62" fmla="*/ 2647 w 4630"/>
                  <a:gd name="T63" fmla="*/ 3127 h 4324"/>
                  <a:gd name="T64" fmla="*/ 2836 w 4630"/>
                  <a:gd name="T65" fmla="*/ 3385 h 4324"/>
                  <a:gd name="T66" fmla="*/ 2845 w 4630"/>
                  <a:gd name="T67" fmla="*/ 4077 h 4324"/>
                  <a:gd name="T68" fmla="*/ 3331 w 4630"/>
                  <a:gd name="T69" fmla="*/ 4324 h 4324"/>
                  <a:gd name="T70" fmla="*/ 3331 w 4630"/>
                  <a:gd name="T71" fmla="*/ 4324 h 4324"/>
                  <a:gd name="T72" fmla="*/ 3683 w 4630"/>
                  <a:gd name="T73" fmla="*/ 4209 h 4324"/>
                  <a:gd name="T74" fmla="*/ 3816 w 4630"/>
                  <a:gd name="T75" fmla="*/ 3371 h 4324"/>
                  <a:gd name="T76" fmla="*/ 3330 w 4630"/>
                  <a:gd name="T77" fmla="*/ 3124 h 4324"/>
                  <a:gd name="T78" fmla="*/ 3159 w 4630"/>
                  <a:gd name="T79" fmla="*/ 3149 h 4324"/>
                  <a:gd name="T80" fmla="*/ 2971 w 4630"/>
                  <a:gd name="T81" fmla="*/ 2893 h 4324"/>
                  <a:gd name="T82" fmla="*/ 3182 w 4630"/>
                  <a:gd name="T83" fmla="*/ 2327 h 4324"/>
                  <a:gd name="T84" fmla="*/ 3179 w 4630"/>
                  <a:gd name="T85" fmla="*/ 2257 h 4324"/>
                  <a:gd name="T86" fmla="*/ 3481 w 4630"/>
                  <a:gd name="T87" fmla="*/ 2159 h 4324"/>
                  <a:gd name="T88" fmla="*/ 3957 w 4630"/>
                  <a:gd name="T89" fmla="*/ 2394 h 4324"/>
                  <a:gd name="T90" fmla="*/ 3957 w 4630"/>
                  <a:gd name="T91" fmla="*/ 2394 h 4324"/>
                  <a:gd name="T92" fmla="*/ 4143 w 4630"/>
                  <a:gd name="T93" fmla="*/ 2364 h 4324"/>
                  <a:gd name="T94" fmla="*/ 4528 w 4630"/>
                  <a:gd name="T95" fmla="*/ 1608 h 4324"/>
                  <a:gd name="T96" fmla="*/ 3958 w 4630"/>
                  <a:gd name="T97" fmla="*/ 1193 h 4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630" h="4324">
                    <a:moveTo>
                      <a:pt x="3958" y="1193"/>
                    </a:moveTo>
                    <a:cubicBezTo>
                      <a:pt x="3895" y="1193"/>
                      <a:pt x="3832" y="1203"/>
                      <a:pt x="3772" y="1223"/>
                    </a:cubicBezTo>
                    <a:cubicBezTo>
                      <a:pt x="3524" y="1304"/>
                      <a:pt x="3364" y="1531"/>
                      <a:pt x="3358" y="1778"/>
                    </a:cubicBezTo>
                    <a:lnTo>
                      <a:pt x="3055" y="1876"/>
                    </a:lnTo>
                    <a:cubicBezTo>
                      <a:pt x="2936" y="1682"/>
                      <a:pt x="2743" y="1538"/>
                      <a:pt x="2515" y="1484"/>
                    </a:cubicBezTo>
                    <a:lnTo>
                      <a:pt x="2515" y="1166"/>
                    </a:lnTo>
                    <a:cubicBezTo>
                      <a:pt x="2748" y="1083"/>
                      <a:pt x="2915" y="861"/>
                      <a:pt x="2915" y="600"/>
                    </a:cubicBezTo>
                    <a:cubicBezTo>
                      <a:pt x="2915" y="270"/>
                      <a:pt x="2646" y="0"/>
                      <a:pt x="2315" y="0"/>
                    </a:cubicBezTo>
                    <a:cubicBezTo>
                      <a:pt x="1984" y="0"/>
                      <a:pt x="1715" y="270"/>
                      <a:pt x="1715" y="600"/>
                    </a:cubicBezTo>
                    <a:cubicBezTo>
                      <a:pt x="1715" y="861"/>
                      <a:pt x="1882" y="1083"/>
                      <a:pt x="2115" y="1166"/>
                    </a:cubicBezTo>
                    <a:lnTo>
                      <a:pt x="2115" y="1484"/>
                    </a:lnTo>
                    <a:cubicBezTo>
                      <a:pt x="1887" y="1538"/>
                      <a:pt x="1694" y="1682"/>
                      <a:pt x="1575" y="1877"/>
                    </a:cubicBezTo>
                    <a:lnTo>
                      <a:pt x="1273" y="1778"/>
                    </a:lnTo>
                    <a:cubicBezTo>
                      <a:pt x="1266" y="1531"/>
                      <a:pt x="1107" y="1304"/>
                      <a:pt x="858" y="1223"/>
                    </a:cubicBezTo>
                    <a:cubicBezTo>
                      <a:pt x="798" y="1203"/>
                      <a:pt x="736" y="1193"/>
                      <a:pt x="673" y="1193"/>
                    </a:cubicBezTo>
                    <a:cubicBezTo>
                      <a:pt x="412" y="1193"/>
                      <a:pt x="183" y="1360"/>
                      <a:pt x="102" y="1608"/>
                    </a:cubicBezTo>
                    <a:cubicBezTo>
                      <a:pt x="0" y="1923"/>
                      <a:pt x="173" y="2262"/>
                      <a:pt x="488" y="2364"/>
                    </a:cubicBezTo>
                    <a:cubicBezTo>
                      <a:pt x="548" y="2384"/>
                      <a:pt x="610" y="2394"/>
                      <a:pt x="673" y="2394"/>
                    </a:cubicBezTo>
                    <a:cubicBezTo>
                      <a:pt x="864" y="2394"/>
                      <a:pt x="1038" y="2304"/>
                      <a:pt x="1149" y="2159"/>
                    </a:cubicBezTo>
                    <a:lnTo>
                      <a:pt x="1452" y="2258"/>
                    </a:lnTo>
                    <a:cubicBezTo>
                      <a:pt x="1450" y="2281"/>
                      <a:pt x="1449" y="2304"/>
                      <a:pt x="1449" y="2327"/>
                    </a:cubicBezTo>
                    <a:cubicBezTo>
                      <a:pt x="1449" y="2542"/>
                      <a:pt x="1528" y="2740"/>
                      <a:pt x="1658" y="2891"/>
                    </a:cubicBezTo>
                    <a:lnTo>
                      <a:pt x="1471" y="3149"/>
                    </a:lnTo>
                    <a:cubicBezTo>
                      <a:pt x="1416" y="3132"/>
                      <a:pt x="1359" y="3124"/>
                      <a:pt x="1301" y="3124"/>
                    </a:cubicBezTo>
                    <a:cubicBezTo>
                      <a:pt x="1109" y="3124"/>
                      <a:pt x="927" y="3216"/>
                      <a:pt x="815" y="3371"/>
                    </a:cubicBezTo>
                    <a:cubicBezTo>
                      <a:pt x="620" y="3639"/>
                      <a:pt x="680" y="4015"/>
                      <a:pt x="948" y="4209"/>
                    </a:cubicBezTo>
                    <a:cubicBezTo>
                      <a:pt x="1051" y="4284"/>
                      <a:pt x="1173" y="4324"/>
                      <a:pt x="1300" y="4324"/>
                    </a:cubicBezTo>
                    <a:cubicBezTo>
                      <a:pt x="1492" y="4324"/>
                      <a:pt x="1673" y="4232"/>
                      <a:pt x="1786" y="4077"/>
                    </a:cubicBezTo>
                    <a:cubicBezTo>
                      <a:pt x="1939" y="3866"/>
                      <a:pt x="1934" y="3588"/>
                      <a:pt x="1795" y="3384"/>
                    </a:cubicBezTo>
                    <a:lnTo>
                      <a:pt x="1981" y="3127"/>
                    </a:lnTo>
                    <a:cubicBezTo>
                      <a:pt x="2084" y="3170"/>
                      <a:pt x="2197" y="3194"/>
                      <a:pt x="2315" y="3194"/>
                    </a:cubicBezTo>
                    <a:cubicBezTo>
                      <a:pt x="2433" y="3194"/>
                      <a:pt x="2545" y="3170"/>
                      <a:pt x="2647" y="3127"/>
                    </a:cubicBezTo>
                    <a:lnTo>
                      <a:pt x="2836" y="3385"/>
                    </a:lnTo>
                    <a:cubicBezTo>
                      <a:pt x="2696" y="3588"/>
                      <a:pt x="2692" y="3866"/>
                      <a:pt x="2845" y="4077"/>
                    </a:cubicBezTo>
                    <a:cubicBezTo>
                      <a:pt x="2957" y="4232"/>
                      <a:pt x="3139" y="4324"/>
                      <a:pt x="3331" y="4324"/>
                    </a:cubicBezTo>
                    <a:lnTo>
                      <a:pt x="3331" y="4324"/>
                    </a:lnTo>
                    <a:cubicBezTo>
                      <a:pt x="3458" y="4324"/>
                      <a:pt x="3580" y="4284"/>
                      <a:pt x="3683" y="4209"/>
                    </a:cubicBezTo>
                    <a:cubicBezTo>
                      <a:pt x="3951" y="4015"/>
                      <a:pt x="4010" y="3639"/>
                      <a:pt x="3816" y="3371"/>
                    </a:cubicBezTo>
                    <a:cubicBezTo>
                      <a:pt x="3703" y="3216"/>
                      <a:pt x="3522" y="3124"/>
                      <a:pt x="3330" y="3124"/>
                    </a:cubicBezTo>
                    <a:cubicBezTo>
                      <a:pt x="3271" y="3124"/>
                      <a:pt x="3214" y="3133"/>
                      <a:pt x="3159" y="3149"/>
                    </a:cubicBezTo>
                    <a:lnTo>
                      <a:pt x="2971" y="2893"/>
                    </a:lnTo>
                    <a:cubicBezTo>
                      <a:pt x="3102" y="2741"/>
                      <a:pt x="3182" y="2543"/>
                      <a:pt x="3182" y="2327"/>
                    </a:cubicBezTo>
                    <a:cubicBezTo>
                      <a:pt x="3182" y="2303"/>
                      <a:pt x="3181" y="2280"/>
                      <a:pt x="3179" y="2257"/>
                    </a:cubicBezTo>
                    <a:lnTo>
                      <a:pt x="3481" y="2159"/>
                    </a:lnTo>
                    <a:cubicBezTo>
                      <a:pt x="3592" y="2304"/>
                      <a:pt x="3766" y="2394"/>
                      <a:pt x="3957" y="2394"/>
                    </a:cubicBezTo>
                    <a:lnTo>
                      <a:pt x="3957" y="2394"/>
                    </a:lnTo>
                    <a:cubicBezTo>
                      <a:pt x="4020" y="2394"/>
                      <a:pt x="4083" y="2384"/>
                      <a:pt x="4143" y="2364"/>
                    </a:cubicBezTo>
                    <a:cubicBezTo>
                      <a:pt x="4458" y="2262"/>
                      <a:pt x="4630" y="1923"/>
                      <a:pt x="4528" y="1608"/>
                    </a:cubicBezTo>
                    <a:cubicBezTo>
                      <a:pt x="4447" y="1360"/>
                      <a:pt x="4218" y="1193"/>
                      <a:pt x="3958" y="1193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19050" tIns="19050" rIns="19050" bIns="19050" numCol="1" anchor="ctr">
                <a:no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2286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 sz="1500" dirty="0"/>
              </a:p>
            </p:txBody>
          </p:sp>
        </p:grp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2D721F4B-8535-46FF-A45A-77002FE40882}"/>
                </a:ext>
              </a:extLst>
            </p:cNvPr>
            <p:cNvSpPr/>
            <p:nvPr/>
          </p:nvSpPr>
          <p:spPr bwMode="auto">
            <a:xfrm>
              <a:off x="7899285" y="1615534"/>
              <a:ext cx="3622790" cy="9693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/>
                <a:t>Supporting text here.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/>
                <a:t>When you copy &amp; paste, choose "keep text only" option.</a:t>
              </a:r>
            </a:p>
          </p:txBody>
        </p: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57A864A5-30AD-4478-92A3-C62413DE9602}"/>
                </a:ext>
              </a:extLst>
            </p:cNvPr>
            <p:cNvSpPr txBox="1"/>
            <p:nvPr/>
          </p:nvSpPr>
          <p:spPr bwMode="auto">
            <a:xfrm>
              <a:off x="7899285" y="1202654"/>
              <a:ext cx="3622790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sz="1800" b="1" dirty="0"/>
                <a:t>01.</a:t>
              </a:r>
              <a:r>
                <a:rPr lang="en-US" altLang="zh-CN" dirty="0"/>
                <a:t> </a:t>
              </a:r>
              <a:r>
                <a:rPr lang="en-US" altLang="zh-CN" b="1" dirty="0"/>
                <a:t>…</a:t>
              </a:r>
              <a:r>
                <a:rPr lang="zh-CN" altLang="en-US" b="1" dirty="0"/>
                <a:t>项目</a:t>
              </a:r>
              <a:endParaRPr lang="id-ID" altLang="zh-CN" b="1" dirty="0"/>
            </a:p>
          </p:txBody>
        </p:sp>
      </p:grpSp>
      <p:grpSp>
        <p:nvGrpSpPr>
          <p:cNvPr id="10" name="组合 9">
            <a:extLst>
              <a:ext uri="{FF2B5EF4-FFF2-40B4-BE49-F238E27FC236}">
                <a16:creationId xmlns:a16="http://schemas.microsoft.com/office/drawing/2014/main" id="{BD95BD5F-D33C-4C51-9620-618ABA742C5F}"/>
              </a:ext>
            </a:extLst>
          </p:cNvPr>
          <p:cNvGrpSpPr/>
          <p:nvPr/>
        </p:nvGrpSpPr>
        <p:grpSpPr>
          <a:xfrm>
            <a:off x="691075" y="2982003"/>
            <a:ext cx="4508638" cy="1382273"/>
            <a:chOff x="7013437" y="1202654"/>
            <a:chExt cx="4508638" cy="1382273"/>
          </a:xfrm>
        </p:grpSpPr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6DD40814-A07A-40CA-BB7B-FDE4ED5171C1}"/>
                </a:ext>
              </a:extLst>
            </p:cNvPr>
            <p:cNvGrpSpPr/>
            <p:nvPr/>
          </p:nvGrpSpPr>
          <p:grpSpPr>
            <a:xfrm>
              <a:off x="7013437" y="1321806"/>
              <a:ext cx="814912" cy="814910"/>
              <a:chOff x="683975" y="1866715"/>
              <a:chExt cx="577851" cy="577851"/>
            </a:xfrm>
          </p:grpSpPr>
          <p:sp>
            <p:nvSpPr>
              <p:cNvPr id="22" name="矩形: 圆角 21">
                <a:extLst>
                  <a:ext uri="{FF2B5EF4-FFF2-40B4-BE49-F238E27FC236}">
                    <a16:creationId xmlns:a16="http://schemas.microsoft.com/office/drawing/2014/main" id="{75F2B34B-6BD6-486A-A8EE-B9985183B858}"/>
                  </a:ext>
                </a:extLst>
              </p:cNvPr>
              <p:cNvSpPr/>
              <p:nvPr/>
            </p:nvSpPr>
            <p:spPr>
              <a:xfrm>
                <a:off x="683975" y="1866715"/>
                <a:ext cx="577851" cy="577851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38100" cap="flat">
                <a:solidFill>
                  <a:schemeClr val="bg1"/>
                </a:solidFill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>
                  <a:defRPr sz="3200"/>
                </a:pPr>
                <a:endParaRPr sz="1600" dirty="0"/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2201F855-C150-438A-8196-DE3064954595}"/>
                  </a:ext>
                </a:extLst>
              </p:cNvPr>
              <p:cNvSpPr/>
              <p:nvPr/>
            </p:nvSpPr>
            <p:spPr>
              <a:xfrm>
                <a:off x="831997" y="2024253"/>
                <a:ext cx="281804" cy="262772"/>
              </a:xfrm>
              <a:custGeom>
                <a:avLst/>
                <a:gdLst>
                  <a:gd name="T0" fmla="*/ 3958 w 4630"/>
                  <a:gd name="T1" fmla="*/ 1193 h 4324"/>
                  <a:gd name="T2" fmla="*/ 3772 w 4630"/>
                  <a:gd name="T3" fmla="*/ 1223 h 4324"/>
                  <a:gd name="T4" fmla="*/ 3358 w 4630"/>
                  <a:gd name="T5" fmla="*/ 1778 h 4324"/>
                  <a:gd name="T6" fmla="*/ 3055 w 4630"/>
                  <a:gd name="T7" fmla="*/ 1876 h 4324"/>
                  <a:gd name="T8" fmla="*/ 2515 w 4630"/>
                  <a:gd name="T9" fmla="*/ 1484 h 4324"/>
                  <a:gd name="T10" fmla="*/ 2515 w 4630"/>
                  <a:gd name="T11" fmla="*/ 1166 h 4324"/>
                  <a:gd name="T12" fmla="*/ 2915 w 4630"/>
                  <a:gd name="T13" fmla="*/ 600 h 4324"/>
                  <a:gd name="T14" fmla="*/ 2315 w 4630"/>
                  <a:gd name="T15" fmla="*/ 0 h 4324"/>
                  <a:gd name="T16" fmla="*/ 1715 w 4630"/>
                  <a:gd name="T17" fmla="*/ 600 h 4324"/>
                  <a:gd name="T18" fmla="*/ 2115 w 4630"/>
                  <a:gd name="T19" fmla="*/ 1166 h 4324"/>
                  <a:gd name="T20" fmla="*/ 2115 w 4630"/>
                  <a:gd name="T21" fmla="*/ 1484 h 4324"/>
                  <a:gd name="T22" fmla="*/ 1575 w 4630"/>
                  <a:gd name="T23" fmla="*/ 1877 h 4324"/>
                  <a:gd name="T24" fmla="*/ 1273 w 4630"/>
                  <a:gd name="T25" fmla="*/ 1778 h 4324"/>
                  <a:gd name="T26" fmla="*/ 858 w 4630"/>
                  <a:gd name="T27" fmla="*/ 1223 h 4324"/>
                  <a:gd name="T28" fmla="*/ 673 w 4630"/>
                  <a:gd name="T29" fmla="*/ 1193 h 4324"/>
                  <a:gd name="T30" fmla="*/ 102 w 4630"/>
                  <a:gd name="T31" fmla="*/ 1608 h 4324"/>
                  <a:gd name="T32" fmla="*/ 488 w 4630"/>
                  <a:gd name="T33" fmla="*/ 2364 h 4324"/>
                  <a:gd name="T34" fmla="*/ 673 w 4630"/>
                  <a:gd name="T35" fmla="*/ 2394 h 4324"/>
                  <a:gd name="T36" fmla="*/ 1149 w 4630"/>
                  <a:gd name="T37" fmla="*/ 2159 h 4324"/>
                  <a:gd name="T38" fmla="*/ 1452 w 4630"/>
                  <a:gd name="T39" fmla="*/ 2258 h 4324"/>
                  <a:gd name="T40" fmla="*/ 1449 w 4630"/>
                  <a:gd name="T41" fmla="*/ 2327 h 4324"/>
                  <a:gd name="T42" fmla="*/ 1658 w 4630"/>
                  <a:gd name="T43" fmla="*/ 2891 h 4324"/>
                  <a:gd name="T44" fmla="*/ 1471 w 4630"/>
                  <a:gd name="T45" fmla="*/ 3149 h 4324"/>
                  <a:gd name="T46" fmla="*/ 1301 w 4630"/>
                  <a:gd name="T47" fmla="*/ 3124 h 4324"/>
                  <a:gd name="T48" fmla="*/ 815 w 4630"/>
                  <a:gd name="T49" fmla="*/ 3371 h 4324"/>
                  <a:gd name="T50" fmla="*/ 948 w 4630"/>
                  <a:gd name="T51" fmla="*/ 4209 h 4324"/>
                  <a:gd name="T52" fmla="*/ 1300 w 4630"/>
                  <a:gd name="T53" fmla="*/ 4324 h 4324"/>
                  <a:gd name="T54" fmla="*/ 1786 w 4630"/>
                  <a:gd name="T55" fmla="*/ 4077 h 4324"/>
                  <a:gd name="T56" fmla="*/ 1795 w 4630"/>
                  <a:gd name="T57" fmla="*/ 3384 h 4324"/>
                  <a:gd name="T58" fmla="*/ 1981 w 4630"/>
                  <a:gd name="T59" fmla="*/ 3127 h 4324"/>
                  <a:gd name="T60" fmla="*/ 2315 w 4630"/>
                  <a:gd name="T61" fmla="*/ 3194 h 4324"/>
                  <a:gd name="T62" fmla="*/ 2647 w 4630"/>
                  <a:gd name="T63" fmla="*/ 3127 h 4324"/>
                  <a:gd name="T64" fmla="*/ 2836 w 4630"/>
                  <a:gd name="T65" fmla="*/ 3385 h 4324"/>
                  <a:gd name="T66" fmla="*/ 2845 w 4630"/>
                  <a:gd name="T67" fmla="*/ 4077 h 4324"/>
                  <a:gd name="T68" fmla="*/ 3331 w 4630"/>
                  <a:gd name="T69" fmla="*/ 4324 h 4324"/>
                  <a:gd name="T70" fmla="*/ 3331 w 4630"/>
                  <a:gd name="T71" fmla="*/ 4324 h 4324"/>
                  <a:gd name="T72" fmla="*/ 3683 w 4630"/>
                  <a:gd name="T73" fmla="*/ 4209 h 4324"/>
                  <a:gd name="T74" fmla="*/ 3816 w 4630"/>
                  <a:gd name="T75" fmla="*/ 3371 h 4324"/>
                  <a:gd name="T76" fmla="*/ 3330 w 4630"/>
                  <a:gd name="T77" fmla="*/ 3124 h 4324"/>
                  <a:gd name="T78" fmla="*/ 3159 w 4630"/>
                  <a:gd name="T79" fmla="*/ 3149 h 4324"/>
                  <a:gd name="T80" fmla="*/ 2971 w 4630"/>
                  <a:gd name="T81" fmla="*/ 2893 h 4324"/>
                  <a:gd name="T82" fmla="*/ 3182 w 4630"/>
                  <a:gd name="T83" fmla="*/ 2327 h 4324"/>
                  <a:gd name="T84" fmla="*/ 3179 w 4630"/>
                  <a:gd name="T85" fmla="*/ 2257 h 4324"/>
                  <a:gd name="T86" fmla="*/ 3481 w 4630"/>
                  <a:gd name="T87" fmla="*/ 2159 h 4324"/>
                  <a:gd name="T88" fmla="*/ 3957 w 4630"/>
                  <a:gd name="T89" fmla="*/ 2394 h 4324"/>
                  <a:gd name="T90" fmla="*/ 3957 w 4630"/>
                  <a:gd name="T91" fmla="*/ 2394 h 4324"/>
                  <a:gd name="T92" fmla="*/ 4143 w 4630"/>
                  <a:gd name="T93" fmla="*/ 2364 h 4324"/>
                  <a:gd name="T94" fmla="*/ 4528 w 4630"/>
                  <a:gd name="T95" fmla="*/ 1608 h 4324"/>
                  <a:gd name="T96" fmla="*/ 3958 w 4630"/>
                  <a:gd name="T97" fmla="*/ 1193 h 4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630" h="4324">
                    <a:moveTo>
                      <a:pt x="3958" y="1193"/>
                    </a:moveTo>
                    <a:cubicBezTo>
                      <a:pt x="3895" y="1193"/>
                      <a:pt x="3832" y="1203"/>
                      <a:pt x="3772" y="1223"/>
                    </a:cubicBezTo>
                    <a:cubicBezTo>
                      <a:pt x="3524" y="1304"/>
                      <a:pt x="3364" y="1531"/>
                      <a:pt x="3358" y="1778"/>
                    </a:cubicBezTo>
                    <a:lnTo>
                      <a:pt x="3055" y="1876"/>
                    </a:lnTo>
                    <a:cubicBezTo>
                      <a:pt x="2936" y="1682"/>
                      <a:pt x="2743" y="1538"/>
                      <a:pt x="2515" y="1484"/>
                    </a:cubicBezTo>
                    <a:lnTo>
                      <a:pt x="2515" y="1166"/>
                    </a:lnTo>
                    <a:cubicBezTo>
                      <a:pt x="2748" y="1083"/>
                      <a:pt x="2915" y="861"/>
                      <a:pt x="2915" y="600"/>
                    </a:cubicBezTo>
                    <a:cubicBezTo>
                      <a:pt x="2915" y="270"/>
                      <a:pt x="2646" y="0"/>
                      <a:pt x="2315" y="0"/>
                    </a:cubicBezTo>
                    <a:cubicBezTo>
                      <a:pt x="1984" y="0"/>
                      <a:pt x="1715" y="270"/>
                      <a:pt x="1715" y="600"/>
                    </a:cubicBezTo>
                    <a:cubicBezTo>
                      <a:pt x="1715" y="861"/>
                      <a:pt x="1882" y="1083"/>
                      <a:pt x="2115" y="1166"/>
                    </a:cubicBezTo>
                    <a:lnTo>
                      <a:pt x="2115" y="1484"/>
                    </a:lnTo>
                    <a:cubicBezTo>
                      <a:pt x="1887" y="1538"/>
                      <a:pt x="1694" y="1682"/>
                      <a:pt x="1575" y="1877"/>
                    </a:cubicBezTo>
                    <a:lnTo>
                      <a:pt x="1273" y="1778"/>
                    </a:lnTo>
                    <a:cubicBezTo>
                      <a:pt x="1266" y="1531"/>
                      <a:pt x="1107" y="1304"/>
                      <a:pt x="858" y="1223"/>
                    </a:cubicBezTo>
                    <a:cubicBezTo>
                      <a:pt x="798" y="1203"/>
                      <a:pt x="736" y="1193"/>
                      <a:pt x="673" y="1193"/>
                    </a:cubicBezTo>
                    <a:cubicBezTo>
                      <a:pt x="412" y="1193"/>
                      <a:pt x="183" y="1360"/>
                      <a:pt x="102" y="1608"/>
                    </a:cubicBezTo>
                    <a:cubicBezTo>
                      <a:pt x="0" y="1923"/>
                      <a:pt x="173" y="2262"/>
                      <a:pt x="488" y="2364"/>
                    </a:cubicBezTo>
                    <a:cubicBezTo>
                      <a:pt x="548" y="2384"/>
                      <a:pt x="610" y="2394"/>
                      <a:pt x="673" y="2394"/>
                    </a:cubicBezTo>
                    <a:cubicBezTo>
                      <a:pt x="864" y="2394"/>
                      <a:pt x="1038" y="2304"/>
                      <a:pt x="1149" y="2159"/>
                    </a:cubicBezTo>
                    <a:lnTo>
                      <a:pt x="1452" y="2258"/>
                    </a:lnTo>
                    <a:cubicBezTo>
                      <a:pt x="1450" y="2281"/>
                      <a:pt x="1449" y="2304"/>
                      <a:pt x="1449" y="2327"/>
                    </a:cubicBezTo>
                    <a:cubicBezTo>
                      <a:pt x="1449" y="2542"/>
                      <a:pt x="1528" y="2740"/>
                      <a:pt x="1658" y="2891"/>
                    </a:cubicBezTo>
                    <a:lnTo>
                      <a:pt x="1471" y="3149"/>
                    </a:lnTo>
                    <a:cubicBezTo>
                      <a:pt x="1416" y="3132"/>
                      <a:pt x="1359" y="3124"/>
                      <a:pt x="1301" y="3124"/>
                    </a:cubicBezTo>
                    <a:cubicBezTo>
                      <a:pt x="1109" y="3124"/>
                      <a:pt x="927" y="3216"/>
                      <a:pt x="815" y="3371"/>
                    </a:cubicBezTo>
                    <a:cubicBezTo>
                      <a:pt x="620" y="3639"/>
                      <a:pt x="680" y="4015"/>
                      <a:pt x="948" y="4209"/>
                    </a:cubicBezTo>
                    <a:cubicBezTo>
                      <a:pt x="1051" y="4284"/>
                      <a:pt x="1173" y="4324"/>
                      <a:pt x="1300" y="4324"/>
                    </a:cubicBezTo>
                    <a:cubicBezTo>
                      <a:pt x="1492" y="4324"/>
                      <a:pt x="1673" y="4232"/>
                      <a:pt x="1786" y="4077"/>
                    </a:cubicBezTo>
                    <a:cubicBezTo>
                      <a:pt x="1939" y="3866"/>
                      <a:pt x="1934" y="3588"/>
                      <a:pt x="1795" y="3384"/>
                    </a:cubicBezTo>
                    <a:lnTo>
                      <a:pt x="1981" y="3127"/>
                    </a:lnTo>
                    <a:cubicBezTo>
                      <a:pt x="2084" y="3170"/>
                      <a:pt x="2197" y="3194"/>
                      <a:pt x="2315" y="3194"/>
                    </a:cubicBezTo>
                    <a:cubicBezTo>
                      <a:pt x="2433" y="3194"/>
                      <a:pt x="2545" y="3170"/>
                      <a:pt x="2647" y="3127"/>
                    </a:cubicBezTo>
                    <a:lnTo>
                      <a:pt x="2836" y="3385"/>
                    </a:lnTo>
                    <a:cubicBezTo>
                      <a:pt x="2696" y="3588"/>
                      <a:pt x="2692" y="3866"/>
                      <a:pt x="2845" y="4077"/>
                    </a:cubicBezTo>
                    <a:cubicBezTo>
                      <a:pt x="2957" y="4232"/>
                      <a:pt x="3139" y="4324"/>
                      <a:pt x="3331" y="4324"/>
                    </a:cubicBezTo>
                    <a:lnTo>
                      <a:pt x="3331" y="4324"/>
                    </a:lnTo>
                    <a:cubicBezTo>
                      <a:pt x="3458" y="4324"/>
                      <a:pt x="3580" y="4284"/>
                      <a:pt x="3683" y="4209"/>
                    </a:cubicBezTo>
                    <a:cubicBezTo>
                      <a:pt x="3951" y="4015"/>
                      <a:pt x="4010" y="3639"/>
                      <a:pt x="3816" y="3371"/>
                    </a:cubicBezTo>
                    <a:cubicBezTo>
                      <a:pt x="3703" y="3216"/>
                      <a:pt x="3522" y="3124"/>
                      <a:pt x="3330" y="3124"/>
                    </a:cubicBezTo>
                    <a:cubicBezTo>
                      <a:pt x="3271" y="3124"/>
                      <a:pt x="3214" y="3133"/>
                      <a:pt x="3159" y="3149"/>
                    </a:cubicBezTo>
                    <a:lnTo>
                      <a:pt x="2971" y="2893"/>
                    </a:lnTo>
                    <a:cubicBezTo>
                      <a:pt x="3102" y="2741"/>
                      <a:pt x="3182" y="2543"/>
                      <a:pt x="3182" y="2327"/>
                    </a:cubicBezTo>
                    <a:cubicBezTo>
                      <a:pt x="3182" y="2303"/>
                      <a:pt x="3181" y="2280"/>
                      <a:pt x="3179" y="2257"/>
                    </a:cubicBezTo>
                    <a:lnTo>
                      <a:pt x="3481" y="2159"/>
                    </a:lnTo>
                    <a:cubicBezTo>
                      <a:pt x="3592" y="2304"/>
                      <a:pt x="3766" y="2394"/>
                      <a:pt x="3957" y="2394"/>
                    </a:cubicBezTo>
                    <a:lnTo>
                      <a:pt x="3957" y="2394"/>
                    </a:lnTo>
                    <a:cubicBezTo>
                      <a:pt x="4020" y="2394"/>
                      <a:pt x="4083" y="2384"/>
                      <a:pt x="4143" y="2364"/>
                    </a:cubicBezTo>
                    <a:cubicBezTo>
                      <a:pt x="4458" y="2262"/>
                      <a:pt x="4630" y="1923"/>
                      <a:pt x="4528" y="1608"/>
                    </a:cubicBezTo>
                    <a:cubicBezTo>
                      <a:pt x="4447" y="1360"/>
                      <a:pt x="4218" y="1193"/>
                      <a:pt x="3958" y="1193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19050" tIns="19050" rIns="19050" bIns="19050" numCol="1" anchor="ctr">
                <a:no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2286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 sz="1500" dirty="0"/>
              </a:p>
            </p:txBody>
          </p:sp>
        </p:grp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11026BD4-8ED2-417A-9D0C-1D182A2B4299}"/>
                </a:ext>
              </a:extLst>
            </p:cNvPr>
            <p:cNvSpPr/>
            <p:nvPr/>
          </p:nvSpPr>
          <p:spPr bwMode="auto">
            <a:xfrm>
              <a:off x="7899285" y="1615534"/>
              <a:ext cx="3622790" cy="9693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/>
                <a:t>Supporting text here.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/>
                <a:t>When you copy &amp; paste, choose "keep text only" option.</a:t>
              </a: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2B273747-C0BD-49AC-9B55-88CBC49E6199}"/>
                </a:ext>
              </a:extLst>
            </p:cNvPr>
            <p:cNvSpPr txBox="1"/>
            <p:nvPr/>
          </p:nvSpPr>
          <p:spPr bwMode="auto">
            <a:xfrm>
              <a:off x="7899285" y="1202654"/>
              <a:ext cx="3622790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sz="1800" b="1" dirty="0"/>
                <a:t>02.</a:t>
              </a:r>
              <a:r>
                <a:rPr lang="en-US" altLang="zh-CN" b="1" dirty="0"/>
                <a:t> …</a:t>
              </a:r>
              <a:r>
                <a:rPr lang="zh-CN" altLang="en-US" b="1" dirty="0"/>
                <a:t>项目</a:t>
              </a:r>
              <a:endParaRPr lang="en-US" altLang="zh-CN" sz="1800" b="1" dirty="0"/>
            </a:p>
          </p:txBody>
        </p:sp>
      </p:grp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9FE19E37-EB21-4E6A-A3A1-05BB4828B243}"/>
              </a:ext>
            </a:extLst>
          </p:cNvPr>
          <p:cNvGrpSpPr/>
          <p:nvPr/>
        </p:nvGrpSpPr>
        <p:grpSpPr>
          <a:xfrm>
            <a:off x="691075" y="4761352"/>
            <a:ext cx="4508638" cy="1382273"/>
            <a:chOff x="7013437" y="1202654"/>
            <a:chExt cx="4508638" cy="1382273"/>
          </a:xfrm>
        </p:grpSpPr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5598F4EE-DE8E-48E2-8DAF-D7544536E95B}"/>
                </a:ext>
              </a:extLst>
            </p:cNvPr>
            <p:cNvGrpSpPr/>
            <p:nvPr/>
          </p:nvGrpSpPr>
          <p:grpSpPr>
            <a:xfrm>
              <a:off x="7013437" y="1321806"/>
              <a:ext cx="814912" cy="814910"/>
              <a:chOff x="683975" y="1866715"/>
              <a:chExt cx="577851" cy="577851"/>
            </a:xfrm>
          </p:grpSpPr>
          <p:sp>
            <p:nvSpPr>
              <p:cNvPr id="17" name="矩形: 圆角 16">
                <a:extLst>
                  <a:ext uri="{FF2B5EF4-FFF2-40B4-BE49-F238E27FC236}">
                    <a16:creationId xmlns:a16="http://schemas.microsoft.com/office/drawing/2014/main" id="{D8170A01-E108-4EEC-8D15-50AB6DC12F81}"/>
                  </a:ext>
                </a:extLst>
              </p:cNvPr>
              <p:cNvSpPr/>
              <p:nvPr/>
            </p:nvSpPr>
            <p:spPr>
              <a:xfrm>
                <a:off x="683975" y="1866715"/>
                <a:ext cx="577851" cy="577851"/>
              </a:xfrm>
              <a:prstGeom prst="roundRect">
                <a:avLst>
                  <a:gd name="adj" fmla="val 50000"/>
                </a:avLst>
              </a:prstGeom>
              <a:solidFill>
                <a:schemeClr val="accent3"/>
              </a:solidFill>
              <a:ln w="38100" cap="flat">
                <a:solidFill>
                  <a:schemeClr val="bg1"/>
                </a:solidFill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>
                  <a:defRPr sz="3200"/>
                </a:pPr>
                <a:endParaRPr sz="1600" dirty="0"/>
              </a:p>
            </p:txBody>
          </p:sp>
          <p:sp>
            <p:nvSpPr>
              <p:cNvPr id="18" name="任意多边形: 形状 17">
                <a:extLst>
                  <a:ext uri="{FF2B5EF4-FFF2-40B4-BE49-F238E27FC236}">
                    <a16:creationId xmlns:a16="http://schemas.microsoft.com/office/drawing/2014/main" id="{BD524337-0BB3-481A-AAFF-172AC5EBB7DD}"/>
                  </a:ext>
                </a:extLst>
              </p:cNvPr>
              <p:cNvSpPr/>
              <p:nvPr/>
            </p:nvSpPr>
            <p:spPr>
              <a:xfrm>
                <a:off x="831997" y="2024253"/>
                <a:ext cx="281804" cy="262772"/>
              </a:xfrm>
              <a:custGeom>
                <a:avLst/>
                <a:gdLst>
                  <a:gd name="T0" fmla="*/ 3958 w 4630"/>
                  <a:gd name="T1" fmla="*/ 1193 h 4324"/>
                  <a:gd name="T2" fmla="*/ 3772 w 4630"/>
                  <a:gd name="T3" fmla="*/ 1223 h 4324"/>
                  <a:gd name="T4" fmla="*/ 3358 w 4630"/>
                  <a:gd name="T5" fmla="*/ 1778 h 4324"/>
                  <a:gd name="T6" fmla="*/ 3055 w 4630"/>
                  <a:gd name="T7" fmla="*/ 1876 h 4324"/>
                  <a:gd name="T8" fmla="*/ 2515 w 4630"/>
                  <a:gd name="T9" fmla="*/ 1484 h 4324"/>
                  <a:gd name="T10" fmla="*/ 2515 w 4630"/>
                  <a:gd name="T11" fmla="*/ 1166 h 4324"/>
                  <a:gd name="T12" fmla="*/ 2915 w 4630"/>
                  <a:gd name="T13" fmla="*/ 600 h 4324"/>
                  <a:gd name="T14" fmla="*/ 2315 w 4630"/>
                  <a:gd name="T15" fmla="*/ 0 h 4324"/>
                  <a:gd name="T16" fmla="*/ 1715 w 4630"/>
                  <a:gd name="T17" fmla="*/ 600 h 4324"/>
                  <a:gd name="T18" fmla="*/ 2115 w 4630"/>
                  <a:gd name="T19" fmla="*/ 1166 h 4324"/>
                  <a:gd name="T20" fmla="*/ 2115 w 4630"/>
                  <a:gd name="T21" fmla="*/ 1484 h 4324"/>
                  <a:gd name="T22" fmla="*/ 1575 w 4630"/>
                  <a:gd name="T23" fmla="*/ 1877 h 4324"/>
                  <a:gd name="T24" fmla="*/ 1273 w 4630"/>
                  <a:gd name="T25" fmla="*/ 1778 h 4324"/>
                  <a:gd name="T26" fmla="*/ 858 w 4630"/>
                  <a:gd name="T27" fmla="*/ 1223 h 4324"/>
                  <a:gd name="T28" fmla="*/ 673 w 4630"/>
                  <a:gd name="T29" fmla="*/ 1193 h 4324"/>
                  <a:gd name="T30" fmla="*/ 102 w 4630"/>
                  <a:gd name="T31" fmla="*/ 1608 h 4324"/>
                  <a:gd name="T32" fmla="*/ 488 w 4630"/>
                  <a:gd name="T33" fmla="*/ 2364 h 4324"/>
                  <a:gd name="T34" fmla="*/ 673 w 4630"/>
                  <a:gd name="T35" fmla="*/ 2394 h 4324"/>
                  <a:gd name="T36" fmla="*/ 1149 w 4630"/>
                  <a:gd name="T37" fmla="*/ 2159 h 4324"/>
                  <a:gd name="T38" fmla="*/ 1452 w 4630"/>
                  <a:gd name="T39" fmla="*/ 2258 h 4324"/>
                  <a:gd name="T40" fmla="*/ 1449 w 4630"/>
                  <a:gd name="T41" fmla="*/ 2327 h 4324"/>
                  <a:gd name="T42" fmla="*/ 1658 w 4630"/>
                  <a:gd name="T43" fmla="*/ 2891 h 4324"/>
                  <a:gd name="T44" fmla="*/ 1471 w 4630"/>
                  <a:gd name="T45" fmla="*/ 3149 h 4324"/>
                  <a:gd name="T46" fmla="*/ 1301 w 4630"/>
                  <a:gd name="T47" fmla="*/ 3124 h 4324"/>
                  <a:gd name="T48" fmla="*/ 815 w 4630"/>
                  <a:gd name="T49" fmla="*/ 3371 h 4324"/>
                  <a:gd name="T50" fmla="*/ 948 w 4630"/>
                  <a:gd name="T51" fmla="*/ 4209 h 4324"/>
                  <a:gd name="T52" fmla="*/ 1300 w 4630"/>
                  <a:gd name="T53" fmla="*/ 4324 h 4324"/>
                  <a:gd name="T54" fmla="*/ 1786 w 4630"/>
                  <a:gd name="T55" fmla="*/ 4077 h 4324"/>
                  <a:gd name="T56" fmla="*/ 1795 w 4630"/>
                  <a:gd name="T57" fmla="*/ 3384 h 4324"/>
                  <a:gd name="T58" fmla="*/ 1981 w 4630"/>
                  <a:gd name="T59" fmla="*/ 3127 h 4324"/>
                  <a:gd name="T60" fmla="*/ 2315 w 4630"/>
                  <a:gd name="T61" fmla="*/ 3194 h 4324"/>
                  <a:gd name="T62" fmla="*/ 2647 w 4630"/>
                  <a:gd name="T63" fmla="*/ 3127 h 4324"/>
                  <a:gd name="T64" fmla="*/ 2836 w 4630"/>
                  <a:gd name="T65" fmla="*/ 3385 h 4324"/>
                  <a:gd name="T66" fmla="*/ 2845 w 4630"/>
                  <a:gd name="T67" fmla="*/ 4077 h 4324"/>
                  <a:gd name="T68" fmla="*/ 3331 w 4630"/>
                  <a:gd name="T69" fmla="*/ 4324 h 4324"/>
                  <a:gd name="T70" fmla="*/ 3331 w 4630"/>
                  <a:gd name="T71" fmla="*/ 4324 h 4324"/>
                  <a:gd name="T72" fmla="*/ 3683 w 4630"/>
                  <a:gd name="T73" fmla="*/ 4209 h 4324"/>
                  <a:gd name="T74" fmla="*/ 3816 w 4630"/>
                  <a:gd name="T75" fmla="*/ 3371 h 4324"/>
                  <a:gd name="T76" fmla="*/ 3330 w 4630"/>
                  <a:gd name="T77" fmla="*/ 3124 h 4324"/>
                  <a:gd name="T78" fmla="*/ 3159 w 4630"/>
                  <a:gd name="T79" fmla="*/ 3149 h 4324"/>
                  <a:gd name="T80" fmla="*/ 2971 w 4630"/>
                  <a:gd name="T81" fmla="*/ 2893 h 4324"/>
                  <a:gd name="T82" fmla="*/ 3182 w 4630"/>
                  <a:gd name="T83" fmla="*/ 2327 h 4324"/>
                  <a:gd name="T84" fmla="*/ 3179 w 4630"/>
                  <a:gd name="T85" fmla="*/ 2257 h 4324"/>
                  <a:gd name="T86" fmla="*/ 3481 w 4630"/>
                  <a:gd name="T87" fmla="*/ 2159 h 4324"/>
                  <a:gd name="T88" fmla="*/ 3957 w 4630"/>
                  <a:gd name="T89" fmla="*/ 2394 h 4324"/>
                  <a:gd name="T90" fmla="*/ 3957 w 4630"/>
                  <a:gd name="T91" fmla="*/ 2394 h 4324"/>
                  <a:gd name="T92" fmla="*/ 4143 w 4630"/>
                  <a:gd name="T93" fmla="*/ 2364 h 4324"/>
                  <a:gd name="T94" fmla="*/ 4528 w 4630"/>
                  <a:gd name="T95" fmla="*/ 1608 h 4324"/>
                  <a:gd name="T96" fmla="*/ 3958 w 4630"/>
                  <a:gd name="T97" fmla="*/ 1193 h 4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630" h="4324">
                    <a:moveTo>
                      <a:pt x="3958" y="1193"/>
                    </a:moveTo>
                    <a:cubicBezTo>
                      <a:pt x="3895" y="1193"/>
                      <a:pt x="3832" y="1203"/>
                      <a:pt x="3772" y="1223"/>
                    </a:cubicBezTo>
                    <a:cubicBezTo>
                      <a:pt x="3524" y="1304"/>
                      <a:pt x="3364" y="1531"/>
                      <a:pt x="3358" y="1778"/>
                    </a:cubicBezTo>
                    <a:lnTo>
                      <a:pt x="3055" y="1876"/>
                    </a:lnTo>
                    <a:cubicBezTo>
                      <a:pt x="2936" y="1682"/>
                      <a:pt x="2743" y="1538"/>
                      <a:pt x="2515" y="1484"/>
                    </a:cubicBezTo>
                    <a:lnTo>
                      <a:pt x="2515" y="1166"/>
                    </a:lnTo>
                    <a:cubicBezTo>
                      <a:pt x="2748" y="1083"/>
                      <a:pt x="2915" y="861"/>
                      <a:pt x="2915" y="600"/>
                    </a:cubicBezTo>
                    <a:cubicBezTo>
                      <a:pt x="2915" y="270"/>
                      <a:pt x="2646" y="0"/>
                      <a:pt x="2315" y="0"/>
                    </a:cubicBezTo>
                    <a:cubicBezTo>
                      <a:pt x="1984" y="0"/>
                      <a:pt x="1715" y="270"/>
                      <a:pt x="1715" y="600"/>
                    </a:cubicBezTo>
                    <a:cubicBezTo>
                      <a:pt x="1715" y="861"/>
                      <a:pt x="1882" y="1083"/>
                      <a:pt x="2115" y="1166"/>
                    </a:cubicBezTo>
                    <a:lnTo>
                      <a:pt x="2115" y="1484"/>
                    </a:lnTo>
                    <a:cubicBezTo>
                      <a:pt x="1887" y="1538"/>
                      <a:pt x="1694" y="1682"/>
                      <a:pt x="1575" y="1877"/>
                    </a:cubicBezTo>
                    <a:lnTo>
                      <a:pt x="1273" y="1778"/>
                    </a:lnTo>
                    <a:cubicBezTo>
                      <a:pt x="1266" y="1531"/>
                      <a:pt x="1107" y="1304"/>
                      <a:pt x="858" y="1223"/>
                    </a:cubicBezTo>
                    <a:cubicBezTo>
                      <a:pt x="798" y="1203"/>
                      <a:pt x="736" y="1193"/>
                      <a:pt x="673" y="1193"/>
                    </a:cubicBezTo>
                    <a:cubicBezTo>
                      <a:pt x="412" y="1193"/>
                      <a:pt x="183" y="1360"/>
                      <a:pt x="102" y="1608"/>
                    </a:cubicBezTo>
                    <a:cubicBezTo>
                      <a:pt x="0" y="1923"/>
                      <a:pt x="173" y="2262"/>
                      <a:pt x="488" y="2364"/>
                    </a:cubicBezTo>
                    <a:cubicBezTo>
                      <a:pt x="548" y="2384"/>
                      <a:pt x="610" y="2394"/>
                      <a:pt x="673" y="2394"/>
                    </a:cubicBezTo>
                    <a:cubicBezTo>
                      <a:pt x="864" y="2394"/>
                      <a:pt x="1038" y="2304"/>
                      <a:pt x="1149" y="2159"/>
                    </a:cubicBezTo>
                    <a:lnTo>
                      <a:pt x="1452" y="2258"/>
                    </a:lnTo>
                    <a:cubicBezTo>
                      <a:pt x="1450" y="2281"/>
                      <a:pt x="1449" y="2304"/>
                      <a:pt x="1449" y="2327"/>
                    </a:cubicBezTo>
                    <a:cubicBezTo>
                      <a:pt x="1449" y="2542"/>
                      <a:pt x="1528" y="2740"/>
                      <a:pt x="1658" y="2891"/>
                    </a:cubicBezTo>
                    <a:lnTo>
                      <a:pt x="1471" y="3149"/>
                    </a:lnTo>
                    <a:cubicBezTo>
                      <a:pt x="1416" y="3132"/>
                      <a:pt x="1359" y="3124"/>
                      <a:pt x="1301" y="3124"/>
                    </a:cubicBezTo>
                    <a:cubicBezTo>
                      <a:pt x="1109" y="3124"/>
                      <a:pt x="927" y="3216"/>
                      <a:pt x="815" y="3371"/>
                    </a:cubicBezTo>
                    <a:cubicBezTo>
                      <a:pt x="620" y="3639"/>
                      <a:pt x="680" y="4015"/>
                      <a:pt x="948" y="4209"/>
                    </a:cubicBezTo>
                    <a:cubicBezTo>
                      <a:pt x="1051" y="4284"/>
                      <a:pt x="1173" y="4324"/>
                      <a:pt x="1300" y="4324"/>
                    </a:cubicBezTo>
                    <a:cubicBezTo>
                      <a:pt x="1492" y="4324"/>
                      <a:pt x="1673" y="4232"/>
                      <a:pt x="1786" y="4077"/>
                    </a:cubicBezTo>
                    <a:cubicBezTo>
                      <a:pt x="1939" y="3866"/>
                      <a:pt x="1934" y="3588"/>
                      <a:pt x="1795" y="3384"/>
                    </a:cubicBezTo>
                    <a:lnTo>
                      <a:pt x="1981" y="3127"/>
                    </a:lnTo>
                    <a:cubicBezTo>
                      <a:pt x="2084" y="3170"/>
                      <a:pt x="2197" y="3194"/>
                      <a:pt x="2315" y="3194"/>
                    </a:cubicBezTo>
                    <a:cubicBezTo>
                      <a:pt x="2433" y="3194"/>
                      <a:pt x="2545" y="3170"/>
                      <a:pt x="2647" y="3127"/>
                    </a:cubicBezTo>
                    <a:lnTo>
                      <a:pt x="2836" y="3385"/>
                    </a:lnTo>
                    <a:cubicBezTo>
                      <a:pt x="2696" y="3588"/>
                      <a:pt x="2692" y="3866"/>
                      <a:pt x="2845" y="4077"/>
                    </a:cubicBezTo>
                    <a:cubicBezTo>
                      <a:pt x="2957" y="4232"/>
                      <a:pt x="3139" y="4324"/>
                      <a:pt x="3331" y="4324"/>
                    </a:cubicBezTo>
                    <a:lnTo>
                      <a:pt x="3331" y="4324"/>
                    </a:lnTo>
                    <a:cubicBezTo>
                      <a:pt x="3458" y="4324"/>
                      <a:pt x="3580" y="4284"/>
                      <a:pt x="3683" y="4209"/>
                    </a:cubicBezTo>
                    <a:cubicBezTo>
                      <a:pt x="3951" y="4015"/>
                      <a:pt x="4010" y="3639"/>
                      <a:pt x="3816" y="3371"/>
                    </a:cubicBezTo>
                    <a:cubicBezTo>
                      <a:pt x="3703" y="3216"/>
                      <a:pt x="3522" y="3124"/>
                      <a:pt x="3330" y="3124"/>
                    </a:cubicBezTo>
                    <a:cubicBezTo>
                      <a:pt x="3271" y="3124"/>
                      <a:pt x="3214" y="3133"/>
                      <a:pt x="3159" y="3149"/>
                    </a:cubicBezTo>
                    <a:lnTo>
                      <a:pt x="2971" y="2893"/>
                    </a:lnTo>
                    <a:cubicBezTo>
                      <a:pt x="3102" y="2741"/>
                      <a:pt x="3182" y="2543"/>
                      <a:pt x="3182" y="2327"/>
                    </a:cubicBezTo>
                    <a:cubicBezTo>
                      <a:pt x="3182" y="2303"/>
                      <a:pt x="3181" y="2280"/>
                      <a:pt x="3179" y="2257"/>
                    </a:cubicBezTo>
                    <a:lnTo>
                      <a:pt x="3481" y="2159"/>
                    </a:lnTo>
                    <a:cubicBezTo>
                      <a:pt x="3592" y="2304"/>
                      <a:pt x="3766" y="2394"/>
                      <a:pt x="3957" y="2394"/>
                    </a:cubicBezTo>
                    <a:lnTo>
                      <a:pt x="3957" y="2394"/>
                    </a:lnTo>
                    <a:cubicBezTo>
                      <a:pt x="4020" y="2394"/>
                      <a:pt x="4083" y="2384"/>
                      <a:pt x="4143" y="2364"/>
                    </a:cubicBezTo>
                    <a:cubicBezTo>
                      <a:pt x="4458" y="2262"/>
                      <a:pt x="4630" y="1923"/>
                      <a:pt x="4528" y="1608"/>
                    </a:cubicBezTo>
                    <a:cubicBezTo>
                      <a:pt x="4447" y="1360"/>
                      <a:pt x="4218" y="1193"/>
                      <a:pt x="3958" y="1193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19050" tIns="19050" rIns="19050" bIns="19050" numCol="1" anchor="ctr">
                <a:no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228600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defRPr>
                </a:pPr>
                <a:endParaRPr sz="1500" dirty="0"/>
              </a:p>
            </p:txBody>
          </p:sp>
        </p:grp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30D1E1EB-5611-4245-9F00-EA21B1E0FAD1}"/>
                </a:ext>
              </a:extLst>
            </p:cNvPr>
            <p:cNvSpPr/>
            <p:nvPr/>
          </p:nvSpPr>
          <p:spPr bwMode="auto">
            <a:xfrm>
              <a:off x="7899285" y="1615534"/>
              <a:ext cx="3622790" cy="9693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/>
                <a:t>Supporting text here.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/>
                <a:t>When you copy &amp; paste, choose "keep text only" option.</a:t>
              </a: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F4DA8B60-4BF5-43A2-95A3-7E8D618B22B6}"/>
                </a:ext>
              </a:extLst>
            </p:cNvPr>
            <p:cNvSpPr txBox="1"/>
            <p:nvPr/>
          </p:nvSpPr>
          <p:spPr bwMode="auto">
            <a:xfrm>
              <a:off x="7899285" y="1202654"/>
              <a:ext cx="3622790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sz="1800" b="1" dirty="0"/>
                <a:t>03.</a:t>
              </a:r>
              <a:r>
                <a:rPr lang="en-US" altLang="zh-CN" b="1" dirty="0"/>
                <a:t> …</a:t>
              </a:r>
              <a:r>
                <a:rPr lang="zh-CN" altLang="en-US" b="1" dirty="0"/>
                <a:t>项目</a:t>
              </a:r>
              <a:endParaRPr lang="en-US" altLang="zh-CN" sz="1800" b="1" dirty="0"/>
            </a:p>
          </p:txBody>
        </p:sp>
      </p:grp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18EEEFC2-08B9-4BFD-AB51-3C7981E7277C}"/>
              </a:ext>
            </a:extLst>
          </p:cNvPr>
          <p:cNvCxnSpPr/>
          <p:nvPr/>
        </p:nvCxnSpPr>
        <p:spPr>
          <a:xfrm>
            <a:off x="1753638" y="2663987"/>
            <a:ext cx="344448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010CA4BB-1464-4CD9-B8C2-787DB45499F3}"/>
              </a:ext>
            </a:extLst>
          </p:cNvPr>
          <p:cNvCxnSpPr/>
          <p:nvPr/>
        </p:nvCxnSpPr>
        <p:spPr>
          <a:xfrm>
            <a:off x="1753638" y="4411306"/>
            <a:ext cx="344448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16765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50F779E-A363-4A63-903C-7E36049E3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执行过程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ED4739C-E5C0-49FC-A6DD-EA45BD06D4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A6B0E1A-E2DA-44E7-8F82-7F0A22CAD9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 dirty="0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87C664BE-85B6-4281-A32F-6481DB113992}"/>
              </a:ext>
            </a:extLst>
          </p:cNvPr>
          <p:cNvGrpSpPr>
            <a:grpSpLocks noChangeAspect="1"/>
          </p:cNvGrpSpPr>
          <p:nvPr/>
        </p:nvGrpSpPr>
        <p:grpSpPr>
          <a:xfrm>
            <a:off x="678079" y="1136506"/>
            <a:ext cx="10842409" cy="4671549"/>
            <a:chOff x="678079" y="1136506"/>
            <a:chExt cx="10842409" cy="4671549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1D10BDB3-3CBA-4C41-9CDC-11240DD73BD0}"/>
                </a:ext>
              </a:extLst>
            </p:cNvPr>
            <p:cNvGrpSpPr/>
            <p:nvPr/>
          </p:nvGrpSpPr>
          <p:grpSpPr>
            <a:xfrm>
              <a:off x="4043085" y="1996289"/>
              <a:ext cx="4105835" cy="2865422"/>
              <a:chOff x="5362052" y="1774480"/>
              <a:chExt cx="5212095" cy="3637470"/>
            </a:xfrm>
          </p:grpSpPr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0286D387-E057-4FF0-A233-177FF208DB1C}"/>
                  </a:ext>
                </a:extLst>
              </p:cNvPr>
              <p:cNvSpPr/>
              <p:nvPr/>
            </p:nvSpPr>
            <p:spPr bwMode="auto">
              <a:xfrm rot="5400000">
                <a:off x="6122801" y="1856396"/>
                <a:ext cx="1346370" cy="1598998"/>
              </a:xfrm>
              <a:custGeom>
                <a:avLst/>
                <a:gdLst>
                  <a:gd name="T0" fmla="*/ 0 w 581"/>
                  <a:gd name="T1" fmla="*/ 690 h 690"/>
                  <a:gd name="T2" fmla="*/ 0 w 581"/>
                  <a:gd name="T3" fmla="*/ 328 h 690"/>
                  <a:gd name="T4" fmla="*/ 128 w 581"/>
                  <a:gd name="T5" fmla="*/ 200 h 690"/>
                  <a:gd name="T6" fmla="*/ 382 w 581"/>
                  <a:gd name="T7" fmla="*/ 200 h 690"/>
                  <a:gd name="T8" fmla="*/ 581 w 581"/>
                  <a:gd name="T9" fmla="*/ 0 h 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1" h="690">
                    <a:moveTo>
                      <a:pt x="0" y="690"/>
                    </a:moveTo>
                    <a:cubicBezTo>
                      <a:pt x="0" y="328"/>
                      <a:pt x="0" y="328"/>
                      <a:pt x="0" y="328"/>
                    </a:cubicBezTo>
                    <a:cubicBezTo>
                      <a:pt x="0" y="257"/>
                      <a:pt x="57" y="200"/>
                      <a:pt x="128" y="200"/>
                    </a:cubicBezTo>
                    <a:cubicBezTo>
                      <a:pt x="382" y="200"/>
                      <a:pt x="382" y="200"/>
                      <a:pt x="382" y="200"/>
                    </a:cubicBezTo>
                    <a:cubicBezTo>
                      <a:pt x="492" y="200"/>
                      <a:pt x="581" y="111"/>
                      <a:pt x="581" y="0"/>
                    </a:cubicBezTo>
                  </a:path>
                </a:pathLst>
              </a:custGeom>
              <a:noFill/>
              <a:ln w="180975" cap="rnd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D1D51334-E0BB-4D37-AB26-DF8F26FE71FE}"/>
                  </a:ext>
                </a:extLst>
              </p:cNvPr>
              <p:cNvSpPr/>
              <p:nvPr/>
            </p:nvSpPr>
            <p:spPr bwMode="auto">
              <a:xfrm rot="5400000">
                <a:off x="6097343" y="3603251"/>
                <a:ext cx="1346370" cy="1649915"/>
              </a:xfrm>
              <a:custGeom>
                <a:avLst/>
                <a:gdLst>
                  <a:gd name="T0" fmla="*/ 581 w 581"/>
                  <a:gd name="T1" fmla="*/ 712 h 712"/>
                  <a:gd name="T2" fmla="*/ 581 w 581"/>
                  <a:gd name="T3" fmla="*/ 328 h 712"/>
                  <a:gd name="T4" fmla="*/ 453 w 581"/>
                  <a:gd name="T5" fmla="*/ 200 h 712"/>
                  <a:gd name="T6" fmla="*/ 200 w 581"/>
                  <a:gd name="T7" fmla="*/ 200 h 712"/>
                  <a:gd name="T8" fmla="*/ 0 w 581"/>
                  <a:gd name="T9" fmla="*/ 0 h 7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1" h="712">
                    <a:moveTo>
                      <a:pt x="581" y="712"/>
                    </a:moveTo>
                    <a:cubicBezTo>
                      <a:pt x="581" y="328"/>
                      <a:pt x="581" y="328"/>
                      <a:pt x="581" y="328"/>
                    </a:cubicBezTo>
                    <a:cubicBezTo>
                      <a:pt x="581" y="257"/>
                      <a:pt x="524" y="200"/>
                      <a:pt x="453" y="200"/>
                    </a:cubicBezTo>
                    <a:cubicBezTo>
                      <a:pt x="200" y="200"/>
                      <a:pt x="200" y="200"/>
                      <a:pt x="200" y="200"/>
                    </a:cubicBezTo>
                    <a:cubicBezTo>
                      <a:pt x="90" y="200"/>
                      <a:pt x="0" y="111"/>
                      <a:pt x="0" y="0"/>
                    </a:cubicBezTo>
                  </a:path>
                </a:pathLst>
              </a:custGeom>
              <a:noFill/>
              <a:ln w="180975" cap="rnd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838B91F9-0100-4117-9131-E9EF32422B83}"/>
                  </a:ext>
                </a:extLst>
              </p:cNvPr>
              <p:cNvSpPr/>
              <p:nvPr/>
            </p:nvSpPr>
            <p:spPr bwMode="auto">
              <a:xfrm rot="5400000">
                <a:off x="7681654" y="1414787"/>
                <a:ext cx="1495205" cy="4289781"/>
              </a:xfrm>
              <a:custGeom>
                <a:avLst/>
                <a:gdLst>
                  <a:gd name="T0" fmla="*/ 0 w 645"/>
                  <a:gd name="T1" fmla="*/ 1852 h 1852"/>
                  <a:gd name="T2" fmla="*/ 0 w 645"/>
                  <a:gd name="T3" fmla="*/ 1691 h 1852"/>
                  <a:gd name="T4" fmla="*/ 65 w 645"/>
                  <a:gd name="T5" fmla="*/ 1625 h 1852"/>
                  <a:gd name="T6" fmla="*/ 208 w 645"/>
                  <a:gd name="T7" fmla="*/ 1625 h 1852"/>
                  <a:gd name="T8" fmla="*/ 407 w 645"/>
                  <a:gd name="T9" fmla="*/ 1426 h 1852"/>
                  <a:gd name="T10" fmla="*/ 407 w 645"/>
                  <a:gd name="T11" fmla="*/ 1405 h 1852"/>
                  <a:gd name="T12" fmla="*/ 407 w 645"/>
                  <a:gd name="T13" fmla="*/ 676 h 1852"/>
                  <a:gd name="T14" fmla="*/ 495 w 645"/>
                  <a:gd name="T15" fmla="*/ 587 h 1852"/>
                  <a:gd name="T16" fmla="*/ 556 w 645"/>
                  <a:gd name="T17" fmla="*/ 587 h 1852"/>
                  <a:gd name="T18" fmla="*/ 645 w 645"/>
                  <a:gd name="T19" fmla="*/ 499 h 1852"/>
                  <a:gd name="T20" fmla="*/ 633 w 645"/>
                  <a:gd name="T21" fmla="*/ 454 h 1852"/>
                  <a:gd name="T22" fmla="*/ 319 w 645"/>
                  <a:gd name="T23" fmla="*/ 0 h 18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45" h="1852">
                    <a:moveTo>
                      <a:pt x="0" y="1852"/>
                    </a:moveTo>
                    <a:cubicBezTo>
                      <a:pt x="0" y="1691"/>
                      <a:pt x="0" y="1691"/>
                      <a:pt x="0" y="1691"/>
                    </a:cubicBezTo>
                    <a:cubicBezTo>
                      <a:pt x="0" y="1655"/>
                      <a:pt x="29" y="1625"/>
                      <a:pt x="65" y="1625"/>
                    </a:cubicBezTo>
                    <a:cubicBezTo>
                      <a:pt x="208" y="1625"/>
                      <a:pt x="208" y="1625"/>
                      <a:pt x="208" y="1625"/>
                    </a:cubicBezTo>
                    <a:cubicBezTo>
                      <a:pt x="318" y="1625"/>
                      <a:pt x="407" y="1536"/>
                      <a:pt x="407" y="1426"/>
                    </a:cubicBezTo>
                    <a:cubicBezTo>
                      <a:pt x="407" y="1405"/>
                      <a:pt x="407" y="1405"/>
                      <a:pt x="407" y="1405"/>
                    </a:cubicBezTo>
                    <a:cubicBezTo>
                      <a:pt x="407" y="676"/>
                      <a:pt x="407" y="676"/>
                      <a:pt x="407" y="676"/>
                    </a:cubicBezTo>
                    <a:cubicBezTo>
                      <a:pt x="407" y="627"/>
                      <a:pt x="446" y="587"/>
                      <a:pt x="495" y="587"/>
                    </a:cubicBezTo>
                    <a:cubicBezTo>
                      <a:pt x="556" y="587"/>
                      <a:pt x="556" y="587"/>
                      <a:pt x="556" y="587"/>
                    </a:cubicBezTo>
                    <a:cubicBezTo>
                      <a:pt x="605" y="587"/>
                      <a:pt x="645" y="548"/>
                      <a:pt x="645" y="499"/>
                    </a:cubicBezTo>
                    <a:cubicBezTo>
                      <a:pt x="645" y="482"/>
                      <a:pt x="640" y="467"/>
                      <a:pt x="633" y="454"/>
                    </a:cubicBezTo>
                    <a:cubicBezTo>
                      <a:pt x="319" y="0"/>
                      <a:pt x="319" y="0"/>
                      <a:pt x="319" y="0"/>
                    </a:cubicBezTo>
                  </a:path>
                </a:pathLst>
              </a:custGeom>
              <a:noFill/>
              <a:ln w="180975" cap="rnd">
                <a:solidFill>
                  <a:schemeClr val="tx2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2186FE10-6671-4FB6-AC91-BCA7DE7C6445}"/>
                  </a:ext>
                </a:extLst>
              </p:cNvPr>
              <p:cNvSpPr/>
              <p:nvPr/>
            </p:nvSpPr>
            <p:spPr bwMode="auto">
              <a:xfrm rot="5400000">
                <a:off x="7681654" y="1382474"/>
                <a:ext cx="1495205" cy="4289781"/>
              </a:xfrm>
              <a:custGeom>
                <a:avLst/>
                <a:gdLst>
                  <a:gd name="T0" fmla="*/ 645 w 645"/>
                  <a:gd name="T1" fmla="*/ 1852 h 1852"/>
                  <a:gd name="T2" fmla="*/ 645 w 645"/>
                  <a:gd name="T3" fmla="*/ 1691 h 1852"/>
                  <a:gd name="T4" fmla="*/ 579 w 645"/>
                  <a:gd name="T5" fmla="*/ 1625 h 1852"/>
                  <a:gd name="T6" fmla="*/ 437 w 645"/>
                  <a:gd name="T7" fmla="*/ 1625 h 1852"/>
                  <a:gd name="T8" fmla="*/ 237 w 645"/>
                  <a:gd name="T9" fmla="*/ 1426 h 1852"/>
                  <a:gd name="T10" fmla="*/ 238 w 645"/>
                  <a:gd name="T11" fmla="*/ 1405 h 1852"/>
                  <a:gd name="T12" fmla="*/ 238 w 645"/>
                  <a:gd name="T13" fmla="*/ 676 h 1852"/>
                  <a:gd name="T14" fmla="*/ 149 w 645"/>
                  <a:gd name="T15" fmla="*/ 587 h 1852"/>
                  <a:gd name="T16" fmla="*/ 88 w 645"/>
                  <a:gd name="T17" fmla="*/ 587 h 1852"/>
                  <a:gd name="T18" fmla="*/ 0 w 645"/>
                  <a:gd name="T19" fmla="*/ 499 h 1852"/>
                  <a:gd name="T20" fmla="*/ 12 w 645"/>
                  <a:gd name="T21" fmla="*/ 454 h 1852"/>
                  <a:gd name="T22" fmla="*/ 325 w 645"/>
                  <a:gd name="T23" fmla="*/ 0 h 18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45" h="1852">
                    <a:moveTo>
                      <a:pt x="645" y="1852"/>
                    </a:moveTo>
                    <a:cubicBezTo>
                      <a:pt x="645" y="1691"/>
                      <a:pt x="645" y="1691"/>
                      <a:pt x="645" y="1691"/>
                    </a:cubicBezTo>
                    <a:cubicBezTo>
                      <a:pt x="645" y="1655"/>
                      <a:pt x="615" y="1625"/>
                      <a:pt x="579" y="1625"/>
                    </a:cubicBezTo>
                    <a:cubicBezTo>
                      <a:pt x="437" y="1625"/>
                      <a:pt x="437" y="1625"/>
                      <a:pt x="437" y="1625"/>
                    </a:cubicBezTo>
                    <a:cubicBezTo>
                      <a:pt x="327" y="1625"/>
                      <a:pt x="237" y="1536"/>
                      <a:pt x="237" y="1426"/>
                    </a:cubicBezTo>
                    <a:cubicBezTo>
                      <a:pt x="238" y="1405"/>
                      <a:pt x="238" y="1405"/>
                      <a:pt x="238" y="1405"/>
                    </a:cubicBezTo>
                    <a:cubicBezTo>
                      <a:pt x="238" y="676"/>
                      <a:pt x="238" y="676"/>
                      <a:pt x="238" y="676"/>
                    </a:cubicBezTo>
                    <a:cubicBezTo>
                      <a:pt x="238" y="627"/>
                      <a:pt x="198" y="587"/>
                      <a:pt x="149" y="587"/>
                    </a:cubicBezTo>
                    <a:cubicBezTo>
                      <a:pt x="88" y="587"/>
                      <a:pt x="88" y="587"/>
                      <a:pt x="88" y="587"/>
                    </a:cubicBezTo>
                    <a:cubicBezTo>
                      <a:pt x="39" y="587"/>
                      <a:pt x="0" y="548"/>
                      <a:pt x="0" y="499"/>
                    </a:cubicBezTo>
                    <a:cubicBezTo>
                      <a:pt x="0" y="482"/>
                      <a:pt x="4" y="467"/>
                      <a:pt x="12" y="454"/>
                    </a:cubicBezTo>
                    <a:cubicBezTo>
                      <a:pt x="325" y="0"/>
                      <a:pt x="325" y="0"/>
                      <a:pt x="325" y="0"/>
                    </a:cubicBezTo>
                  </a:path>
                </a:pathLst>
              </a:custGeom>
              <a:noFill/>
              <a:ln w="180975" cap="rnd">
                <a:solidFill>
                  <a:schemeClr val="accent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椭圆 24">
                <a:extLst>
                  <a:ext uri="{FF2B5EF4-FFF2-40B4-BE49-F238E27FC236}">
                    <a16:creationId xmlns:a16="http://schemas.microsoft.com/office/drawing/2014/main" id="{93F329D4-2C09-4592-A91C-1132E72174E2}"/>
                  </a:ext>
                </a:extLst>
              </p:cNvPr>
              <p:cNvSpPr/>
              <p:nvPr/>
            </p:nvSpPr>
            <p:spPr bwMode="auto">
              <a:xfrm>
                <a:off x="5362052" y="4829025"/>
                <a:ext cx="584110" cy="582925"/>
              </a:xfrm>
              <a:prstGeom prst="ellipse">
                <a:avLst/>
              </a:prstGeom>
              <a:noFill/>
              <a:ln w="180975" cap="rnd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椭圆 25">
                <a:extLst>
                  <a:ext uri="{FF2B5EF4-FFF2-40B4-BE49-F238E27FC236}">
                    <a16:creationId xmlns:a16="http://schemas.microsoft.com/office/drawing/2014/main" id="{1512B009-9694-41D8-93B9-FCAB32AF5EFB}"/>
                  </a:ext>
                </a:extLst>
              </p:cNvPr>
              <p:cNvSpPr/>
              <p:nvPr/>
            </p:nvSpPr>
            <p:spPr bwMode="auto">
              <a:xfrm>
                <a:off x="5399094" y="1774480"/>
                <a:ext cx="510026" cy="508990"/>
              </a:xfrm>
              <a:prstGeom prst="ellipse">
                <a:avLst/>
              </a:prstGeom>
              <a:noFill/>
              <a:ln w="180975" cap="rnd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椭圆 26">
                <a:extLst>
                  <a:ext uri="{FF2B5EF4-FFF2-40B4-BE49-F238E27FC236}">
                    <a16:creationId xmlns:a16="http://schemas.microsoft.com/office/drawing/2014/main" id="{3E68E220-7892-4D49-87F3-4CFBB8EE6D8E}"/>
                  </a:ext>
                </a:extLst>
              </p:cNvPr>
              <p:cNvSpPr/>
              <p:nvPr/>
            </p:nvSpPr>
            <p:spPr bwMode="auto">
              <a:xfrm>
                <a:off x="5832519" y="2650071"/>
                <a:ext cx="388864" cy="388073"/>
              </a:xfrm>
              <a:prstGeom prst="ellipse">
                <a:avLst/>
              </a:prstGeom>
              <a:noFill/>
              <a:ln w="127000" cap="rnd">
                <a:solidFill>
                  <a:schemeClr val="tx2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椭圆 27">
                <a:extLst>
                  <a:ext uri="{FF2B5EF4-FFF2-40B4-BE49-F238E27FC236}">
                    <a16:creationId xmlns:a16="http://schemas.microsoft.com/office/drawing/2014/main" id="{A986318A-6B6D-4D2B-8E82-AF4F038D72AC}"/>
                  </a:ext>
                </a:extLst>
              </p:cNvPr>
              <p:cNvSpPr/>
              <p:nvPr/>
            </p:nvSpPr>
            <p:spPr bwMode="auto">
              <a:xfrm>
                <a:off x="5832519" y="4077991"/>
                <a:ext cx="388864" cy="388073"/>
              </a:xfrm>
              <a:prstGeom prst="ellipse">
                <a:avLst/>
              </a:prstGeom>
              <a:noFill/>
              <a:ln w="127000" cap="rnd">
                <a:solidFill>
                  <a:schemeClr val="accent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08C45E4C-14E1-4565-8B74-48B66C3D143E}"/>
                </a:ext>
              </a:extLst>
            </p:cNvPr>
            <p:cNvGrpSpPr/>
            <p:nvPr/>
          </p:nvGrpSpPr>
          <p:grpSpPr>
            <a:xfrm>
              <a:off x="8571000" y="2732582"/>
              <a:ext cx="2949488" cy="1306539"/>
              <a:chOff x="719137" y="2442364"/>
              <a:chExt cx="5376847" cy="1306539"/>
            </a:xfrm>
          </p:grpSpPr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6C1915DC-0A45-41CB-A286-B4966B1ED3E3}"/>
                  </a:ext>
                </a:extLst>
              </p:cNvPr>
              <p:cNvSpPr/>
              <p:nvPr/>
            </p:nvSpPr>
            <p:spPr bwMode="auto">
              <a:xfrm>
                <a:off x="719137" y="2884168"/>
                <a:ext cx="5376845" cy="8647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marL="171450" indent="-171450">
                  <a:lnSpc>
                    <a:spcPct val="150000"/>
                  </a:lnSpc>
                  <a:spcBef>
                    <a:spcPct val="0"/>
                  </a:spcBef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10F54B13-5252-4210-A7D5-BAFCA3C0C07A}"/>
                  </a:ext>
                </a:extLst>
              </p:cNvPr>
              <p:cNvSpPr txBox="1"/>
              <p:nvPr/>
            </p:nvSpPr>
            <p:spPr bwMode="auto">
              <a:xfrm>
                <a:off x="719137" y="2442364"/>
                <a:ext cx="537684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en-US" altLang="zh-CN" sz="2000" b="1" dirty="0"/>
                  <a:t>…</a:t>
                </a:r>
                <a:r>
                  <a:rPr lang="zh-CN" altLang="en-US" sz="2000" b="1" dirty="0"/>
                  <a:t>过程</a:t>
                </a:r>
              </a:p>
            </p:txBody>
          </p:sp>
        </p:grp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A2596DD5-C727-4ACF-AB6B-FEB8024E1C18}"/>
                </a:ext>
              </a:extLst>
            </p:cNvPr>
            <p:cNvSpPr/>
            <p:nvPr/>
          </p:nvSpPr>
          <p:spPr bwMode="auto">
            <a:xfrm>
              <a:off x="678079" y="1549387"/>
              <a:ext cx="3365005" cy="7090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Copy paste fonts. Choose the only option to retain text.</a:t>
              </a:r>
            </a:p>
            <a:p>
              <a:pPr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……</a:t>
              </a: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5418B78D-7FA3-4212-893D-9C528CD1C715}"/>
                </a:ext>
              </a:extLst>
            </p:cNvPr>
            <p:cNvSpPr txBox="1"/>
            <p:nvPr/>
          </p:nvSpPr>
          <p:spPr bwMode="auto">
            <a:xfrm>
              <a:off x="678079" y="1136506"/>
              <a:ext cx="3365005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b="1" dirty="0"/>
                <a:t>…</a:t>
              </a:r>
              <a:r>
                <a:rPr lang="zh-CN" altLang="en-US" b="1" dirty="0"/>
                <a:t>过程</a:t>
              </a: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64A6B6AB-BC3B-444E-8805-EFCB48F7EFB7}"/>
                </a:ext>
              </a:extLst>
            </p:cNvPr>
            <p:cNvSpPr/>
            <p:nvPr/>
          </p:nvSpPr>
          <p:spPr bwMode="auto">
            <a:xfrm>
              <a:off x="678079" y="2732583"/>
              <a:ext cx="3365005" cy="7090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Copy paste fonts. Choose the only option to retain text.</a:t>
              </a:r>
            </a:p>
            <a:p>
              <a:pPr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……</a:t>
              </a: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3E67EE89-6570-4900-89C4-2BB7B2CD9602}"/>
                </a:ext>
              </a:extLst>
            </p:cNvPr>
            <p:cNvSpPr txBox="1"/>
            <p:nvPr/>
          </p:nvSpPr>
          <p:spPr bwMode="auto">
            <a:xfrm>
              <a:off x="678079" y="2319702"/>
              <a:ext cx="3365005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b="1" dirty="0"/>
                <a:t>…</a:t>
              </a:r>
              <a:r>
                <a:rPr lang="zh-CN" altLang="en-US" b="1" dirty="0"/>
                <a:t>过程</a:t>
              </a: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B2E05724-EFB7-49CD-AF97-2E2397CC2EAB}"/>
                </a:ext>
              </a:extLst>
            </p:cNvPr>
            <p:cNvSpPr/>
            <p:nvPr/>
          </p:nvSpPr>
          <p:spPr bwMode="auto">
            <a:xfrm>
              <a:off x="678079" y="3915779"/>
              <a:ext cx="3365005" cy="7090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Copy paste fonts. Choose the only option to retain text.</a:t>
              </a:r>
            </a:p>
            <a:p>
              <a:pPr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……</a:t>
              </a: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79B003B9-4875-4123-9113-CCF125DD1703}"/>
                </a:ext>
              </a:extLst>
            </p:cNvPr>
            <p:cNvSpPr txBox="1"/>
            <p:nvPr/>
          </p:nvSpPr>
          <p:spPr bwMode="auto">
            <a:xfrm>
              <a:off x="678079" y="3502898"/>
              <a:ext cx="3365005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b="1" dirty="0"/>
                <a:t>…</a:t>
              </a:r>
              <a:r>
                <a:rPr lang="zh-CN" altLang="en-US" b="1" dirty="0"/>
                <a:t>过程</a:t>
              </a: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1F3ADEE6-A6B8-4D28-9656-971015D3A285}"/>
                </a:ext>
              </a:extLst>
            </p:cNvPr>
            <p:cNvSpPr/>
            <p:nvPr/>
          </p:nvSpPr>
          <p:spPr bwMode="auto">
            <a:xfrm>
              <a:off x="678079" y="5098975"/>
              <a:ext cx="3365005" cy="7090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Copy paste fonts. Choose the only option to retain text.</a:t>
              </a:r>
            </a:p>
            <a:p>
              <a:pPr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/>
                <a:t>……</a:t>
              </a: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D52DA379-E0A7-477E-A46B-45606917D879}"/>
                </a:ext>
              </a:extLst>
            </p:cNvPr>
            <p:cNvSpPr txBox="1"/>
            <p:nvPr/>
          </p:nvSpPr>
          <p:spPr bwMode="auto">
            <a:xfrm>
              <a:off x="678079" y="4686094"/>
              <a:ext cx="3365005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b="1" dirty="0"/>
                <a:t>…</a:t>
              </a:r>
              <a:r>
                <a:rPr lang="zh-CN" altLang="en-US" b="1" dirty="0"/>
                <a:t>过程</a:t>
              </a:r>
            </a:p>
          </p:txBody>
        </p: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936A4828-D9FA-427A-B9F6-B4516838FD8F}"/>
                </a:ext>
              </a:extLst>
            </p:cNvPr>
            <p:cNvCxnSpPr/>
            <p:nvPr/>
          </p:nvCxnSpPr>
          <p:spPr>
            <a:xfrm>
              <a:off x="678079" y="2258467"/>
              <a:ext cx="316792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6A17A22C-AF39-447E-8093-9D88AEC21EB7}"/>
                </a:ext>
              </a:extLst>
            </p:cNvPr>
            <p:cNvCxnSpPr/>
            <p:nvPr/>
          </p:nvCxnSpPr>
          <p:spPr>
            <a:xfrm>
              <a:off x="678079" y="3390151"/>
              <a:ext cx="316792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>
              <a:extLst>
                <a:ext uri="{FF2B5EF4-FFF2-40B4-BE49-F238E27FC236}">
                  <a16:creationId xmlns:a16="http://schemas.microsoft.com/office/drawing/2014/main" id="{E2B56A8F-669B-466E-95B5-D793B2334CA2}"/>
                </a:ext>
              </a:extLst>
            </p:cNvPr>
            <p:cNvCxnSpPr/>
            <p:nvPr/>
          </p:nvCxnSpPr>
          <p:spPr>
            <a:xfrm>
              <a:off x="678079" y="4521835"/>
              <a:ext cx="3167921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922148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503602C-858C-4333-AB3E-8BDAD65312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存在问题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156DAD5-FBB2-47AB-851D-B2B88D3DEA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0E9AC6F-E2D3-466B-B80E-AF865BC25E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3FAB307-6F9A-4AF4-9C06-5E5E1B6A6C83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706851"/>
            <a:ext cx="10845800" cy="4439949"/>
            <a:chOff x="673100" y="1706851"/>
            <a:chExt cx="10845800" cy="4439949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A096FB35-F5AC-46D8-A747-1BD51A7602B0}"/>
                </a:ext>
              </a:extLst>
            </p:cNvPr>
            <p:cNvGrpSpPr/>
            <p:nvPr/>
          </p:nvGrpSpPr>
          <p:grpSpPr>
            <a:xfrm>
              <a:off x="7462322" y="3188360"/>
              <a:ext cx="671392" cy="719035"/>
              <a:chOff x="6108537" y="594745"/>
              <a:chExt cx="942089" cy="1610559"/>
            </a:xfrm>
          </p:grpSpPr>
          <p:sp>
            <p:nvSpPr>
              <p:cNvPr id="37" name="箭头: V 形 36">
                <a:extLst>
                  <a:ext uri="{FF2B5EF4-FFF2-40B4-BE49-F238E27FC236}">
                    <a16:creationId xmlns:a16="http://schemas.microsoft.com/office/drawing/2014/main" id="{7FEABA88-C2A5-41F7-A106-3288AB6521AB}"/>
                  </a:ext>
                </a:extLst>
              </p:cNvPr>
              <p:cNvSpPr/>
              <p:nvPr/>
            </p:nvSpPr>
            <p:spPr>
              <a:xfrm>
                <a:off x="6108537" y="594745"/>
                <a:ext cx="843567" cy="1610559"/>
              </a:xfrm>
              <a:prstGeom prst="chevron">
                <a:avLst>
                  <a:gd name="adj" fmla="val 62314"/>
                </a:avLst>
              </a:prstGeom>
              <a:solidFill>
                <a:schemeClr val="bg1">
                  <a:lumMod val="95000"/>
                  <a:alpha val="7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/>
              </a:p>
            </p:txBody>
          </p:sp>
          <p:sp>
            <p:nvSpPr>
              <p:cNvPr id="38" name="箭头: V 形 37">
                <a:extLst>
                  <a:ext uri="{FF2B5EF4-FFF2-40B4-BE49-F238E27FC236}">
                    <a16:creationId xmlns:a16="http://schemas.microsoft.com/office/drawing/2014/main" id="{525C9BCC-7956-4025-B2D3-CA7BC2B44FD9}"/>
                  </a:ext>
                </a:extLst>
              </p:cNvPr>
              <p:cNvSpPr/>
              <p:nvPr/>
            </p:nvSpPr>
            <p:spPr>
              <a:xfrm>
                <a:off x="6207059" y="594745"/>
                <a:ext cx="843567" cy="1610559"/>
              </a:xfrm>
              <a:prstGeom prst="chevron">
                <a:avLst>
                  <a:gd name="adj" fmla="val 62314"/>
                </a:avLst>
              </a:prstGeom>
              <a:solidFill>
                <a:schemeClr val="bg1">
                  <a:lumMod val="85000"/>
                  <a:alpha val="7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/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FFF260E3-AAAF-42FC-8034-C6C3A315F929}"/>
                </a:ext>
              </a:extLst>
            </p:cNvPr>
            <p:cNvGrpSpPr/>
            <p:nvPr/>
          </p:nvGrpSpPr>
          <p:grpSpPr>
            <a:xfrm>
              <a:off x="673100" y="1977309"/>
              <a:ext cx="5973114" cy="3322483"/>
              <a:chOff x="673100" y="1977309"/>
              <a:chExt cx="5973114" cy="3322483"/>
            </a:xfrm>
          </p:grpSpPr>
          <p:grpSp>
            <p:nvGrpSpPr>
              <p:cNvPr id="15" name="组合 14">
                <a:extLst>
                  <a:ext uri="{FF2B5EF4-FFF2-40B4-BE49-F238E27FC236}">
                    <a16:creationId xmlns:a16="http://schemas.microsoft.com/office/drawing/2014/main" id="{4F7F8E51-8644-4C83-B751-635DE462B095}"/>
                  </a:ext>
                </a:extLst>
              </p:cNvPr>
              <p:cNvGrpSpPr/>
              <p:nvPr/>
            </p:nvGrpSpPr>
            <p:grpSpPr>
              <a:xfrm>
                <a:off x="3395206" y="2103439"/>
                <a:ext cx="3251008" cy="2888876"/>
                <a:chOff x="3305065" y="1795012"/>
                <a:chExt cx="3251008" cy="2888876"/>
              </a:xfrm>
            </p:grpSpPr>
            <p:sp>
              <p:nvSpPr>
                <p:cNvPr id="19" name="椭圆 18">
                  <a:extLst>
                    <a:ext uri="{FF2B5EF4-FFF2-40B4-BE49-F238E27FC236}">
                      <a16:creationId xmlns:a16="http://schemas.microsoft.com/office/drawing/2014/main" id="{1AE6F73A-FFFC-402A-8FA6-A673D0411975}"/>
                    </a:ext>
                  </a:extLst>
                </p:cNvPr>
                <p:cNvSpPr/>
                <p:nvPr/>
              </p:nvSpPr>
              <p:spPr>
                <a:xfrm>
                  <a:off x="4952754" y="3312250"/>
                  <a:ext cx="140407" cy="140415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25000" lnSpcReduction="20000"/>
                </a:bodyPr>
                <a:lstStyle/>
                <a:p>
                  <a:endParaRPr/>
                </a:p>
              </p:txBody>
            </p:sp>
            <p:sp>
              <p:nvSpPr>
                <p:cNvPr id="20" name="椭圆 19">
                  <a:extLst>
                    <a:ext uri="{FF2B5EF4-FFF2-40B4-BE49-F238E27FC236}">
                      <a16:creationId xmlns:a16="http://schemas.microsoft.com/office/drawing/2014/main" id="{D7693186-8204-45FC-BF59-234FE81D9334}"/>
                    </a:ext>
                  </a:extLst>
                </p:cNvPr>
                <p:cNvSpPr/>
                <p:nvPr/>
              </p:nvSpPr>
              <p:spPr>
                <a:xfrm>
                  <a:off x="3935196" y="1795012"/>
                  <a:ext cx="1197078" cy="1197078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/>
                  <a:r>
                    <a:rPr lang="en-US" altLang="zh-CN" sz="2400" i="1" dirty="0">
                      <a:solidFill>
                        <a:schemeClr val="bg1"/>
                      </a:solidFill>
                    </a:rPr>
                    <a:t>Text</a:t>
                  </a:r>
                  <a:endParaRPr sz="2400" i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1" name="椭圆 20">
                  <a:extLst>
                    <a:ext uri="{FF2B5EF4-FFF2-40B4-BE49-F238E27FC236}">
                      <a16:creationId xmlns:a16="http://schemas.microsoft.com/office/drawing/2014/main" id="{39A62C83-46BA-4FBD-AFC0-331E9B6FF9BA}"/>
                    </a:ext>
                  </a:extLst>
                </p:cNvPr>
                <p:cNvSpPr/>
                <p:nvPr/>
              </p:nvSpPr>
              <p:spPr>
                <a:xfrm>
                  <a:off x="4986514" y="2950163"/>
                  <a:ext cx="220639" cy="220652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25000" lnSpcReduction="20000"/>
                </a:bodyPr>
                <a:lstStyle/>
                <a:p>
                  <a:endParaRPr/>
                </a:p>
              </p:txBody>
            </p:sp>
            <p:sp>
              <p:nvSpPr>
                <p:cNvPr id="22" name="椭圆 21">
                  <a:extLst>
                    <a:ext uri="{FF2B5EF4-FFF2-40B4-BE49-F238E27FC236}">
                      <a16:creationId xmlns:a16="http://schemas.microsoft.com/office/drawing/2014/main" id="{3ACFFC62-2442-4BB6-902A-9BCC505B00BC}"/>
                    </a:ext>
                  </a:extLst>
                </p:cNvPr>
                <p:cNvSpPr/>
                <p:nvPr/>
              </p:nvSpPr>
              <p:spPr>
                <a:xfrm>
                  <a:off x="5224048" y="2752131"/>
                  <a:ext cx="140407" cy="140415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25000" lnSpcReduction="20000"/>
                </a:bodyPr>
                <a:lstStyle/>
                <a:p>
                  <a:endParaRPr/>
                </a:p>
              </p:txBody>
            </p:sp>
            <p:sp>
              <p:nvSpPr>
                <p:cNvPr id="23" name="椭圆 22">
                  <a:extLst>
                    <a:ext uri="{FF2B5EF4-FFF2-40B4-BE49-F238E27FC236}">
                      <a16:creationId xmlns:a16="http://schemas.microsoft.com/office/drawing/2014/main" id="{80618076-6A56-44C9-A830-FD187A1C0C9A}"/>
                    </a:ext>
                  </a:extLst>
                </p:cNvPr>
                <p:cNvSpPr/>
                <p:nvPr/>
              </p:nvSpPr>
              <p:spPr>
                <a:xfrm>
                  <a:off x="5206489" y="1971861"/>
                  <a:ext cx="755571" cy="755570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/>
                  <a:r>
                    <a:rPr lang="en-US" altLang="zh-CN" sz="1200" i="1" dirty="0">
                      <a:solidFill>
                        <a:schemeClr val="bg1"/>
                      </a:solidFill>
                    </a:rPr>
                    <a:t>Text</a:t>
                  </a:r>
                  <a:endParaRPr sz="1200" i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4" name="椭圆 23">
                  <a:extLst>
                    <a:ext uri="{FF2B5EF4-FFF2-40B4-BE49-F238E27FC236}">
                      <a16:creationId xmlns:a16="http://schemas.microsoft.com/office/drawing/2014/main" id="{BD2752BB-E4B2-4715-BD4A-273D0C494C9E}"/>
                    </a:ext>
                  </a:extLst>
                </p:cNvPr>
                <p:cNvSpPr/>
                <p:nvPr/>
              </p:nvSpPr>
              <p:spPr>
                <a:xfrm>
                  <a:off x="5835062" y="2633591"/>
                  <a:ext cx="140407" cy="140415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25000" lnSpcReduction="20000"/>
                </a:bodyPr>
                <a:lstStyle/>
                <a:p>
                  <a:endParaRPr/>
                </a:p>
              </p:txBody>
            </p:sp>
            <p:sp>
              <p:nvSpPr>
                <p:cNvPr id="25" name="椭圆 24">
                  <a:extLst>
                    <a:ext uri="{FF2B5EF4-FFF2-40B4-BE49-F238E27FC236}">
                      <a16:creationId xmlns:a16="http://schemas.microsoft.com/office/drawing/2014/main" id="{D46CB876-76DC-4D64-8F88-1913B0E836B5}"/>
                    </a:ext>
                  </a:extLst>
                </p:cNvPr>
                <p:cNvSpPr/>
                <p:nvPr/>
              </p:nvSpPr>
              <p:spPr>
                <a:xfrm>
                  <a:off x="6054389" y="2592955"/>
                  <a:ext cx="359579" cy="359579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70000" lnSpcReduction="20000"/>
                </a:bodyPr>
                <a:lstStyle/>
                <a:p>
                  <a:endParaRPr/>
                </a:p>
              </p:txBody>
            </p:sp>
            <p:sp>
              <p:nvSpPr>
                <p:cNvPr id="26" name="椭圆 25">
                  <a:extLst>
                    <a:ext uri="{FF2B5EF4-FFF2-40B4-BE49-F238E27FC236}">
                      <a16:creationId xmlns:a16="http://schemas.microsoft.com/office/drawing/2014/main" id="{FD487008-FD28-4810-83C3-C63990FB2A43}"/>
                    </a:ext>
                  </a:extLst>
                </p:cNvPr>
                <p:cNvSpPr/>
                <p:nvPr/>
              </p:nvSpPr>
              <p:spPr>
                <a:xfrm>
                  <a:off x="6243105" y="3039153"/>
                  <a:ext cx="140407" cy="140415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25000" lnSpcReduction="20000"/>
                </a:bodyPr>
                <a:lstStyle/>
                <a:p>
                  <a:endParaRPr/>
                </a:p>
              </p:txBody>
            </p:sp>
            <p:sp>
              <p:nvSpPr>
                <p:cNvPr id="27" name="椭圆 26">
                  <a:extLst>
                    <a:ext uri="{FF2B5EF4-FFF2-40B4-BE49-F238E27FC236}">
                      <a16:creationId xmlns:a16="http://schemas.microsoft.com/office/drawing/2014/main" id="{0FC9D211-7ED2-41CB-ADCB-1828280D65AF}"/>
                    </a:ext>
                  </a:extLst>
                </p:cNvPr>
                <p:cNvSpPr/>
                <p:nvPr/>
              </p:nvSpPr>
              <p:spPr>
                <a:xfrm>
                  <a:off x="6415666" y="3191669"/>
                  <a:ext cx="140407" cy="140415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25000" lnSpcReduction="20000"/>
                </a:bodyPr>
                <a:lstStyle/>
                <a:p>
                  <a:endParaRPr/>
                </a:p>
              </p:txBody>
            </p:sp>
            <p:sp>
              <p:nvSpPr>
                <p:cNvPr id="28" name="椭圆 27">
                  <a:extLst>
                    <a:ext uri="{FF2B5EF4-FFF2-40B4-BE49-F238E27FC236}">
                      <a16:creationId xmlns:a16="http://schemas.microsoft.com/office/drawing/2014/main" id="{BDAA806F-B707-4616-8F4C-2081ECDFBA2A}"/>
                    </a:ext>
                  </a:extLst>
                </p:cNvPr>
                <p:cNvSpPr/>
                <p:nvPr/>
              </p:nvSpPr>
              <p:spPr>
                <a:xfrm>
                  <a:off x="5206890" y="2824366"/>
                  <a:ext cx="946739" cy="946739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/>
                  <a:r>
                    <a:rPr lang="en-US" altLang="zh-CN" i="1" dirty="0">
                      <a:solidFill>
                        <a:schemeClr val="bg1"/>
                      </a:solidFill>
                    </a:rPr>
                    <a:t>Text</a:t>
                  </a:r>
                  <a:endParaRPr i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9" name="椭圆 28">
                  <a:extLst>
                    <a:ext uri="{FF2B5EF4-FFF2-40B4-BE49-F238E27FC236}">
                      <a16:creationId xmlns:a16="http://schemas.microsoft.com/office/drawing/2014/main" id="{A5018B73-02D6-4205-8CA9-A4E8AE44D5A9}"/>
                    </a:ext>
                  </a:extLst>
                </p:cNvPr>
                <p:cNvSpPr/>
                <p:nvPr/>
              </p:nvSpPr>
              <p:spPr>
                <a:xfrm>
                  <a:off x="4621937" y="3192996"/>
                  <a:ext cx="220638" cy="220652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25000" lnSpcReduction="20000"/>
                </a:bodyPr>
                <a:lstStyle/>
                <a:p>
                  <a:endParaRPr/>
                </a:p>
              </p:txBody>
            </p:sp>
            <p:sp>
              <p:nvSpPr>
                <p:cNvPr id="30" name="椭圆 29">
                  <a:extLst>
                    <a:ext uri="{FF2B5EF4-FFF2-40B4-BE49-F238E27FC236}">
                      <a16:creationId xmlns:a16="http://schemas.microsoft.com/office/drawing/2014/main" id="{97F4FD29-992D-4315-B06C-BBC66E8EA3B8}"/>
                    </a:ext>
                  </a:extLst>
                </p:cNvPr>
                <p:cNvSpPr/>
                <p:nvPr/>
              </p:nvSpPr>
              <p:spPr>
                <a:xfrm>
                  <a:off x="4122569" y="3486810"/>
                  <a:ext cx="1197078" cy="1197078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/>
                  <a:r>
                    <a:rPr lang="en-US" altLang="zh-CN" sz="2400" i="1" dirty="0">
                      <a:solidFill>
                        <a:schemeClr val="bg1"/>
                      </a:solidFill>
                    </a:rPr>
                    <a:t>Text</a:t>
                  </a:r>
                  <a:endParaRPr sz="2400" i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1" name="椭圆 30">
                  <a:extLst>
                    <a:ext uri="{FF2B5EF4-FFF2-40B4-BE49-F238E27FC236}">
                      <a16:creationId xmlns:a16="http://schemas.microsoft.com/office/drawing/2014/main" id="{D4268F9D-0CE5-4712-B950-D7F7B2D79CDE}"/>
                    </a:ext>
                  </a:extLst>
                </p:cNvPr>
                <p:cNvSpPr/>
                <p:nvPr/>
              </p:nvSpPr>
              <p:spPr>
                <a:xfrm>
                  <a:off x="5397860" y="4106494"/>
                  <a:ext cx="140407" cy="140415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25000" lnSpcReduction="20000"/>
                </a:bodyPr>
                <a:lstStyle/>
                <a:p>
                  <a:endParaRPr/>
                </a:p>
              </p:txBody>
            </p:sp>
            <p:sp>
              <p:nvSpPr>
                <p:cNvPr id="32" name="椭圆 31">
                  <a:extLst>
                    <a:ext uri="{FF2B5EF4-FFF2-40B4-BE49-F238E27FC236}">
                      <a16:creationId xmlns:a16="http://schemas.microsoft.com/office/drawing/2014/main" id="{3576E659-B654-4D77-BEE0-358DA6790789}"/>
                    </a:ext>
                  </a:extLst>
                </p:cNvPr>
                <p:cNvSpPr/>
                <p:nvPr/>
              </p:nvSpPr>
              <p:spPr>
                <a:xfrm>
                  <a:off x="5458280" y="3832733"/>
                  <a:ext cx="220638" cy="220652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25000" lnSpcReduction="20000"/>
                </a:bodyPr>
                <a:lstStyle/>
                <a:p>
                  <a:endParaRPr/>
                </a:p>
              </p:txBody>
            </p:sp>
            <p:sp>
              <p:nvSpPr>
                <p:cNvPr id="33" name="椭圆 32">
                  <a:extLst>
                    <a:ext uri="{FF2B5EF4-FFF2-40B4-BE49-F238E27FC236}">
                      <a16:creationId xmlns:a16="http://schemas.microsoft.com/office/drawing/2014/main" id="{54C9E262-9225-4E94-A88B-F47B2E2666D6}"/>
                    </a:ext>
                  </a:extLst>
                </p:cNvPr>
                <p:cNvSpPr/>
                <p:nvPr/>
              </p:nvSpPr>
              <p:spPr>
                <a:xfrm>
                  <a:off x="5695812" y="4117050"/>
                  <a:ext cx="140407" cy="140415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25000" lnSpcReduction="20000"/>
                </a:bodyPr>
                <a:lstStyle/>
                <a:p>
                  <a:endParaRPr/>
                </a:p>
              </p:txBody>
            </p:sp>
            <p:sp>
              <p:nvSpPr>
                <p:cNvPr id="34" name="椭圆 33">
                  <a:extLst>
                    <a:ext uri="{FF2B5EF4-FFF2-40B4-BE49-F238E27FC236}">
                      <a16:creationId xmlns:a16="http://schemas.microsoft.com/office/drawing/2014/main" id="{E773BCCA-4E8D-44AA-9682-FFAB9297823A}"/>
                    </a:ext>
                  </a:extLst>
                </p:cNvPr>
                <p:cNvSpPr/>
                <p:nvPr/>
              </p:nvSpPr>
              <p:spPr>
                <a:xfrm>
                  <a:off x="5837594" y="3680909"/>
                  <a:ext cx="652871" cy="652871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/>
                  <a:r>
                    <a:rPr lang="en-US" altLang="zh-CN" sz="1000" i="1" dirty="0">
                      <a:solidFill>
                        <a:schemeClr val="bg1"/>
                      </a:solidFill>
                    </a:rPr>
                    <a:t>Text</a:t>
                  </a:r>
                  <a:endParaRPr sz="1000" i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5" name="椭圆 34">
                  <a:extLst>
                    <a:ext uri="{FF2B5EF4-FFF2-40B4-BE49-F238E27FC236}">
                      <a16:creationId xmlns:a16="http://schemas.microsoft.com/office/drawing/2014/main" id="{DEB504A5-2314-4908-91C1-6AD60931666D}"/>
                    </a:ext>
                  </a:extLst>
                </p:cNvPr>
                <p:cNvSpPr/>
                <p:nvPr/>
              </p:nvSpPr>
              <p:spPr>
                <a:xfrm>
                  <a:off x="6191385" y="3346102"/>
                  <a:ext cx="220638" cy="220652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25000" lnSpcReduction="20000"/>
                </a:bodyPr>
                <a:lstStyle/>
                <a:p>
                  <a:endParaRPr/>
                </a:p>
              </p:txBody>
            </p:sp>
            <p:sp>
              <p:nvSpPr>
                <p:cNvPr id="36" name="椭圆 35">
                  <a:extLst>
                    <a:ext uri="{FF2B5EF4-FFF2-40B4-BE49-F238E27FC236}">
                      <a16:creationId xmlns:a16="http://schemas.microsoft.com/office/drawing/2014/main" id="{D323ACB2-E274-4CB1-A766-C60AF90800A9}"/>
                    </a:ext>
                  </a:extLst>
                </p:cNvPr>
                <p:cNvSpPr/>
                <p:nvPr/>
              </p:nvSpPr>
              <p:spPr>
                <a:xfrm>
                  <a:off x="3305065" y="2828253"/>
                  <a:ext cx="1037771" cy="1037772"/>
                </a:xfrm>
                <a:prstGeom prst="ellipse">
                  <a:avLst/>
                </a:prstGeom>
                <a:solidFill>
                  <a:schemeClr val="bg1">
                    <a:lumMod val="75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/>
                  <a:r>
                    <a:rPr lang="en-US" altLang="zh-CN" sz="2000" i="1" dirty="0">
                      <a:solidFill>
                        <a:schemeClr val="bg1"/>
                      </a:solidFill>
                    </a:rPr>
                    <a:t>Text</a:t>
                  </a:r>
                  <a:endParaRPr sz="2000" i="1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16" name="矩形 15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767906" y="1977309"/>
                <a:ext cx="3160071" cy="924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673100" y="3193530"/>
                <a:ext cx="2537279" cy="924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960310" y="4375719"/>
                <a:ext cx="3160071" cy="924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C234C9A8-F8CF-4FF8-B9A8-B6EB38BA6282}"/>
                </a:ext>
              </a:extLst>
            </p:cNvPr>
            <p:cNvGrpSpPr/>
            <p:nvPr/>
          </p:nvGrpSpPr>
          <p:grpSpPr>
            <a:xfrm>
              <a:off x="8276205" y="1706851"/>
              <a:ext cx="3242695" cy="4439949"/>
              <a:chOff x="8124551" y="1706851"/>
              <a:chExt cx="3242695" cy="4439949"/>
            </a:xfrm>
          </p:grpSpPr>
          <p:grpSp>
            <p:nvGrpSpPr>
              <p:cNvPr id="9" name="组合 8">
                <a:extLst>
                  <a:ext uri="{FF2B5EF4-FFF2-40B4-BE49-F238E27FC236}">
                    <a16:creationId xmlns:a16="http://schemas.microsoft.com/office/drawing/2014/main" id="{1A63E7CE-434B-44BB-BE08-B708609B85D9}"/>
                  </a:ext>
                </a:extLst>
              </p:cNvPr>
              <p:cNvGrpSpPr/>
              <p:nvPr/>
            </p:nvGrpSpPr>
            <p:grpSpPr>
              <a:xfrm>
                <a:off x="8798168" y="1706851"/>
                <a:ext cx="1895460" cy="1895460"/>
                <a:chOff x="8798168" y="1706851"/>
                <a:chExt cx="1895460" cy="1895460"/>
              </a:xfrm>
            </p:grpSpPr>
            <p:sp>
              <p:nvSpPr>
                <p:cNvPr id="13" name="椭圆 12">
                  <a:extLst>
                    <a:ext uri="{FF2B5EF4-FFF2-40B4-BE49-F238E27FC236}">
                      <a16:creationId xmlns:a16="http://schemas.microsoft.com/office/drawing/2014/main" id="{3F044F70-22DC-4F74-B00C-BB2968C8C8BE}"/>
                    </a:ext>
                  </a:extLst>
                </p:cNvPr>
                <p:cNvSpPr/>
                <p:nvPr/>
              </p:nvSpPr>
              <p:spPr>
                <a:xfrm>
                  <a:off x="8798168" y="1706851"/>
                  <a:ext cx="1895460" cy="1895460"/>
                </a:xfrm>
                <a:prstGeom prst="ellipse">
                  <a:avLst/>
                </a:prstGeom>
                <a:solidFill>
                  <a:schemeClr val="accent1"/>
                </a:solidFill>
                <a:ln w="0">
                  <a:noFill/>
                  <a:prstDash val="solid"/>
                  <a:round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/>
                </a:p>
              </p:txBody>
            </p:sp>
            <p:sp>
              <p:nvSpPr>
                <p:cNvPr id="14" name="任意多边形: 形状 13">
                  <a:extLst>
                    <a:ext uri="{FF2B5EF4-FFF2-40B4-BE49-F238E27FC236}">
                      <a16:creationId xmlns:a16="http://schemas.microsoft.com/office/drawing/2014/main" id="{7CB5BBA1-ED79-4784-A612-C64CE670E67D}"/>
                    </a:ext>
                  </a:extLst>
                </p:cNvPr>
                <p:cNvSpPr/>
                <p:nvPr/>
              </p:nvSpPr>
              <p:spPr>
                <a:xfrm>
                  <a:off x="9266206" y="2287651"/>
                  <a:ext cx="959384" cy="733858"/>
                </a:xfrm>
                <a:custGeom>
                  <a:avLst/>
                  <a:gdLst>
                    <a:gd name="connsiteX0" fmla="*/ 361794 w 551492"/>
                    <a:gd name="connsiteY0" fmla="*/ 308363 h 421851"/>
                    <a:gd name="connsiteX1" fmla="*/ 530845 w 551492"/>
                    <a:gd name="connsiteY1" fmla="*/ 308363 h 421851"/>
                    <a:gd name="connsiteX2" fmla="*/ 551492 w 551492"/>
                    <a:gd name="connsiteY2" fmla="*/ 329044 h 421851"/>
                    <a:gd name="connsiteX3" fmla="*/ 551492 w 551492"/>
                    <a:gd name="connsiteY3" fmla="*/ 362650 h 421851"/>
                    <a:gd name="connsiteX4" fmla="*/ 530845 w 551492"/>
                    <a:gd name="connsiteY4" fmla="*/ 383331 h 421851"/>
                    <a:gd name="connsiteX5" fmla="*/ 378570 w 551492"/>
                    <a:gd name="connsiteY5" fmla="*/ 383331 h 421851"/>
                    <a:gd name="connsiteX6" fmla="*/ 378570 w 551492"/>
                    <a:gd name="connsiteY6" fmla="*/ 369113 h 421851"/>
                    <a:gd name="connsiteX7" fmla="*/ 361794 w 551492"/>
                    <a:gd name="connsiteY7" fmla="*/ 308363 h 421851"/>
                    <a:gd name="connsiteX8" fmla="*/ 313904 w 551492"/>
                    <a:gd name="connsiteY8" fmla="*/ 172924 h 421851"/>
                    <a:gd name="connsiteX9" fmla="*/ 530832 w 551492"/>
                    <a:gd name="connsiteY9" fmla="*/ 172924 h 421851"/>
                    <a:gd name="connsiteX10" fmla="*/ 551492 w 551492"/>
                    <a:gd name="connsiteY10" fmla="*/ 193548 h 421851"/>
                    <a:gd name="connsiteX11" fmla="*/ 551492 w 551492"/>
                    <a:gd name="connsiteY11" fmla="*/ 225772 h 421851"/>
                    <a:gd name="connsiteX12" fmla="*/ 530832 w 551492"/>
                    <a:gd name="connsiteY12" fmla="*/ 247685 h 421851"/>
                    <a:gd name="connsiteX13" fmla="*/ 271293 w 551492"/>
                    <a:gd name="connsiteY13" fmla="*/ 247685 h 421851"/>
                    <a:gd name="connsiteX14" fmla="*/ 271293 w 551492"/>
                    <a:gd name="connsiteY14" fmla="*/ 227061 h 421851"/>
                    <a:gd name="connsiteX15" fmla="*/ 272584 w 551492"/>
                    <a:gd name="connsiteY15" fmla="*/ 224483 h 421851"/>
                    <a:gd name="connsiteX16" fmla="*/ 313904 w 551492"/>
                    <a:gd name="connsiteY16" fmla="*/ 172924 h 421851"/>
                    <a:gd name="connsiteX17" fmla="*/ 281648 w 551492"/>
                    <a:gd name="connsiteY17" fmla="*/ 36241 h 421851"/>
                    <a:gd name="connsiteX18" fmla="*/ 530834 w 551492"/>
                    <a:gd name="connsiteY18" fmla="*/ 36241 h 421851"/>
                    <a:gd name="connsiteX19" fmla="*/ 551492 w 551492"/>
                    <a:gd name="connsiteY19" fmla="*/ 58154 h 421851"/>
                    <a:gd name="connsiteX20" fmla="*/ 551492 w 551492"/>
                    <a:gd name="connsiteY20" fmla="*/ 90378 h 421851"/>
                    <a:gd name="connsiteX21" fmla="*/ 530834 w 551492"/>
                    <a:gd name="connsiteY21" fmla="*/ 111002 h 421851"/>
                    <a:gd name="connsiteX22" fmla="*/ 308761 w 551492"/>
                    <a:gd name="connsiteY22" fmla="*/ 111002 h 421851"/>
                    <a:gd name="connsiteX23" fmla="*/ 295850 w 551492"/>
                    <a:gd name="connsiteY23" fmla="*/ 96823 h 421851"/>
                    <a:gd name="connsiteX24" fmla="*/ 281648 w 551492"/>
                    <a:gd name="connsiteY24" fmla="*/ 36241 h 421851"/>
                    <a:gd name="connsiteX25" fmla="*/ 176987 w 551492"/>
                    <a:gd name="connsiteY25" fmla="*/ 0 h 421851"/>
                    <a:gd name="connsiteX26" fmla="*/ 271294 w 551492"/>
                    <a:gd name="connsiteY26" fmla="*/ 117396 h 421851"/>
                    <a:gd name="connsiteX27" fmla="*/ 276461 w 551492"/>
                    <a:gd name="connsiteY27" fmla="*/ 117396 h 421851"/>
                    <a:gd name="connsiteX28" fmla="*/ 290672 w 551492"/>
                    <a:gd name="connsiteY28" fmla="*/ 152228 h 421851"/>
                    <a:gd name="connsiteX29" fmla="*/ 262251 w 551492"/>
                    <a:gd name="connsiteY29" fmla="*/ 199960 h 421851"/>
                    <a:gd name="connsiteX30" fmla="*/ 257083 w 551492"/>
                    <a:gd name="connsiteY30" fmla="*/ 197380 h 421851"/>
                    <a:gd name="connsiteX31" fmla="*/ 224786 w 551492"/>
                    <a:gd name="connsiteY31" fmla="*/ 247692 h 421851"/>
                    <a:gd name="connsiteX32" fmla="*/ 219619 w 551492"/>
                    <a:gd name="connsiteY32" fmla="*/ 259303 h 421851"/>
                    <a:gd name="connsiteX33" fmla="*/ 241581 w 551492"/>
                    <a:gd name="connsiteY33" fmla="*/ 279944 h 421851"/>
                    <a:gd name="connsiteX34" fmla="*/ 263543 w 551492"/>
                    <a:gd name="connsiteY34" fmla="*/ 279944 h 421851"/>
                    <a:gd name="connsiteX35" fmla="*/ 352682 w 551492"/>
                    <a:gd name="connsiteY35" fmla="*/ 368958 h 421851"/>
                    <a:gd name="connsiteX36" fmla="*/ 352682 w 551492"/>
                    <a:gd name="connsiteY36" fmla="*/ 393470 h 421851"/>
                    <a:gd name="connsiteX37" fmla="*/ 325553 w 551492"/>
                    <a:gd name="connsiteY37" fmla="*/ 421851 h 421851"/>
                    <a:gd name="connsiteX38" fmla="*/ 28421 w 551492"/>
                    <a:gd name="connsiteY38" fmla="*/ 421851 h 421851"/>
                    <a:gd name="connsiteX39" fmla="*/ 0 w 551492"/>
                    <a:gd name="connsiteY39" fmla="*/ 393470 h 421851"/>
                    <a:gd name="connsiteX40" fmla="*/ 0 w 551492"/>
                    <a:gd name="connsiteY40" fmla="*/ 368958 h 421851"/>
                    <a:gd name="connsiteX41" fmla="*/ 89139 w 551492"/>
                    <a:gd name="connsiteY41" fmla="*/ 279944 h 421851"/>
                    <a:gd name="connsiteX42" fmla="*/ 112393 w 551492"/>
                    <a:gd name="connsiteY42" fmla="*/ 279944 h 421851"/>
                    <a:gd name="connsiteX43" fmla="*/ 133063 w 551492"/>
                    <a:gd name="connsiteY43" fmla="*/ 259303 h 421851"/>
                    <a:gd name="connsiteX44" fmla="*/ 127896 w 551492"/>
                    <a:gd name="connsiteY44" fmla="*/ 247692 h 421851"/>
                    <a:gd name="connsiteX45" fmla="*/ 95599 w 551492"/>
                    <a:gd name="connsiteY45" fmla="*/ 198670 h 421851"/>
                    <a:gd name="connsiteX46" fmla="*/ 91723 w 551492"/>
                    <a:gd name="connsiteY46" fmla="*/ 199960 h 421851"/>
                    <a:gd name="connsiteX47" fmla="*/ 63302 w 551492"/>
                    <a:gd name="connsiteY47" fmla="*/ 152228 h 421851"/>
                    <a:gd name="connsiteX48" fmla="*/ 78804 w 551492"/>
                    <a:gd name="connsiteY48" fmla="*/ 117396 h 421851"/>
                    <a:gd name="connsiteX49" fmla="*/ 81388 w 551492"/>
                    <a:gd name="connsiteY49" fmla="*/ 117396 h 421851"/>
                    <a:gd name="connsiteX50" fmla="*/ 176987 w 551492"/>
                    <a:gd name="connsiteY50" fmla="*/ 0 h 4218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</a:cxnLst>
                  <a:rect l="l" t="t" r="r" b="b"/>
                  <a:pathLst>
                    <a:path w="551492" h="421851">
                      <a:moveTo>
                        <a:pt x="361794" y="308363"/>
                      </a:moveTo>
                      <a:lnTo>
                        <a:pt x="530845" y="308363"/>
                      </a:lnTo>
                      <a:cubicBezTo>
                        <a:pt x="541168" y="308363"/>
                        <a:pt x="551492" y="317411"/>
                        <a:pt x="551492" y="329044"/>
                      </a:cubicBezTo>
                      <a:lnTo>
                        <a:pt x="551492" y="362650"/>
                      </a:lnTo>
                      <a:cubicBezTo>
                        <a:pt x="551492" y="374283"/>
                        <a:pt x="541168" y="383331"/>
                        <a:pt x="530845" y="383331"/>
                      </a:cubicBezTo>
                      <a:lnTo>
                        <a:pt x="378570" y="383331"/>
                      </a:lnTo>
                      <a:lnTo>
                        <a:pt x="378570" y="369113"/>
                      </a:lnTo>
                      <a:cubicBezTo>
                        <a:pt x="378570" y="347140"/>
                        <a:pt x="372118" y="326459"/>
                        <a:pt x="361794" y="308363"/>
                      </a:cubicBezTo>
                      <a:close/>
                      <a:moveTo>
                        <a:pt x="313904" y="172924"/>
                      </a:moveTo>
                      <a:lnTo>
                        <a:pt x="530832" y="172924"/>
                      </a:lnTo>
                      <a:cubicBezTo>
                        <a:pt x="541162" y="172924"/>
                        <a:pt x="551492" y="181947"/>
                        <a:pt x="551492" y="193548"/>
                      </a:cubicBezTo>
                      <a:lnTo>
                        <a:pt x="551492" y="225772"/>
                      </a:lnTo>
                      <a:cubicBezTo>
                        <a:pt x="551492" y="237373"/>
                        <a:pt x="541162" y="247685"/>
                        <a:pt x="530832" y="247685"/>
                      </a:cubicBezTo>
                      <a:lnTo>
                        <a:pt x="271293" y="247685"/>
                      </a:lnTo>
                      <a:lnTo>
                        <a:pt x="271293" y="227061"/>
                      </a:lnTo>
                      <a:cubicBezTo>
                        <a:pt x="271293" y="225772"/>
                        <a:pt x="272584" y="225772"/>
                        <a:pt x="272584" y="224483"/>
                      </a:cubicBezTo>
                      <a:cubicBezTo>
                        <a:pt x="293244" y="218038"/>
                        <a:pt x="307448" y="194837"/>
                        <a:pt x="313904" y="172924"/>
                      </a:cubicBezTo>
                      <a:close/>
                      <a:moveTo>
                        <a:pt x="281648" y="36241"/>
                      </a:moveTo>
                      <a:lnTo>
                        <a:pt x="530834" y="36241"/>
                      </a:lnTo>
                      <a:cubicBezTo>
                        <a:pt x="541163" y="36241"/>
                        <a:pt x="551492" y="46553"/>
                        <a:pt x="551492" y="58154"/>
                      </a:cubicBezTo>
                      <a:lnTo>
                        <a:pt x="551492" y="90378"/>
                      </a:lnTo>
                      <a:cubicBezTo>
                        <a:pt x="551492" y="101979"/>
                        <a:pt x="541163" y="111002"/>
                        <a:pt x="530834" y="111002"/>
                      </a:cubicBezTo>
                      <a:lnTo>
                        <a:pt x="308761" y="111002"/>
                      </a:lnTo>
                      <a:cubicBezTo>
                        <a:pt x="304888" y="104557"/>
                        <a:pt x="301015" y="99401"/>
                        <a:pt x="295850" y="96823"/>
                      </a:cubicBezTo>
                      <a:cubicBezTo>
                        <a:pt x="293268" y="72333"/>
                        <a:pt x="288104" y="52998"/>
                        <a:pt x="281648" y="36241"/>
                      </a:cubicBezTo>
                      <a:close/>
                      <a:moveTo>
                        <a:pt x="176987" y="0"/>
                      </a:moveTo>
                      <a:cubicBezTo>
                        <a:pt x="257083" y="0"/>
                        <a:pt x="270002" y="64503"/>
                        <a:pt x="271294" y="117396"/>
                      </a:cubicBezTo>
                      <a:cubicBezTo>
                        <a:pt x="272586" y="117396"/>
                        <a:pt x="273878" y="117396"/>
                        <a:pt x="276461" y="117396"/>
                      </a:cubicBezTo>
                      <a:cubicBezTo>
                        <a:pt x="289380" y="117396"/>
                        <a:pt x="290672" y="132877"/>
                        <a:pt x="290672" y="152228"/>
                      </a:cubicBezTo>
                      <a:cubicBezTo>
                        <a:pt x="290672" y="171579"/>
                        <a:pt x="275169" y="199960"/>
                        <a:pt x="262251" y="199960"/>
                      </a:cubicBezTo>
                      <a:cubicBezTo>
                        <a:pt x="260959" y="199960"/>
                        <a:pt x="258375" y="198670"/>
                        <a:pt x="257083" y="197380"/>
                      </a:cubicBezTo>
                      <a:cubicBezTo>
                        <a:pt x="249332" y="216731"/>
                        <a:pt x="237705" y="233502"/>
                        <a:pt x="224786" y="247692"/>
                      </a:cubicBezTo>
                      <a:cubicBezTo>
                        <a:pt x="220911" y="250272"/>
                        <a:pt x="219619" y="254143"/>
                        <a:pt x="219619" y="259303"/>
                      </a:cubicBezTo>
                      <a:cubicBezTo>
                        <a:pt x="219619" y="270913"/>
                        <a:pt x="228662" y="279944"/>
                        <a:pt x="241581" y="279944"/>
                      </a:cubicBezTo>
                      <a:lnTo>
                        <a:pt x="263543" y="279944"/>
                      </a:lnTo>
                      <a:cubicBezTo>
                        <a:pt x="312634" y="279944"/>
                        <a:pt x="352682" y="319936"/>
                        <a:pt x="352682" y="368958"/>
                      </a:cubicBezTo>
                      <a:lnTo>
                        <a:pt x="352682" y="393470"/>
                      </a:lnTo>
                      <a:cubicBezTo>
                        <a:pt x="352682" y="408950"/>
                        <a:pt x="341055" y="421851"/>
                        <a:pt x="325553" y="421851"/>
                      </a:cubicBezTo>
                      <a:lnTo>
                        <a:pt x="28421" y="421851"/>
                      </a:lnTo>
                      <a:cubicBezTo>
                        <a:pt x="12919" y="421851"/>
                        <a:pt x="0" y="408950"/>
                        <a:pt x="0" y="393470"/>
                      </a:cubicBezTo>
                      <a:lnTo>
                        <a:pt x="0" y="368958"/>
                      </a:lnTo>
                      <a:cubicBezTo>
                        <a:pt x="0" y="319936"/>
                        <a:pt x="40048" y="279944"/>
                        <a:pt x="89139" y="279944"/>
                      </a:cubicBezTo>
                      <a:lnTo>
                        <a:pt x="112393" y="279944"/>
                      </a:lnTo>
                      <a:cubicBezTo>
                        <a:pt x="124020" y="279944"/>
                        <a:pt x="133063" y="270913"/>
                        <a:pt x="133063" y="259303"/>
                      </a:cubicBezTo>
                      <a:cubicBezTo>
                        <a:pt x="133063" y="254143"/>
                        <a:pt x="131771" y="250272"/>
                        <a:pt x="127896" y="247692"/>
                      </a:cubicBezTo>
                      <a:cubicBezTo>
                        <a:pt x="114977" y="234792"/>
                        <a:pt x="104642" y="216731"/>
                        <a:pt x="95599" y="198670"/>
                      </a:cubicBezTo>
                      <a:cubicBezTo>
                        <a:pt x="94307" y="199960"/>
                        <a:pt x="93015" y="199960"/>
                        <a:pt x="91723" y="199960"/>
                      </a:cubicBezTo>
                      <a:cubicBezTo>
                        <a:pt x="78804" y="199960"/>
                        <a:pt x="63302" y="171579"/>
                        <a:pt x="63302" y="152228"/>
                      </a:cubicBezTo>
                      <a:cubicBezTo>
                        <a:pt x="63302" y="132877"/>
                        <a:pt x="65886" y="117396"/>
                        <a:pt x="78804" y="117396"/>
                      </a:cubicBezTo>
                      <a:cubicBezTo>
                        <a:pt x="80096" y="117396"/>
                        <a:pt x="80096" y="117396"/>
                        <a:pt x="81388" y="117396"/>
                      </a:cubicBezTo>
                      <a:cubicBezTo>
                        <a:pt x="82680" y="64503"/>
                        <a:pt x="93015" y="0"/>
                        <a:pt x="17698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921D2456-A6A6-43F5-AD86-0A010D24A2F0}"/>
                  </a:ext>
                </a:extLst>
              </p:cNvPr>
              <p:cNvSpPr txBox="1"/>
              <p:nvPr/>
            </p:nvSpPr>
            <p:spPr>
              <a:xfrm>
                <a:off x="8124551" y="3748909"/>
                <a:ext cx="3242695" cy="391099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sz="1600" b="1" dirty="0"/>
                  <a:t>…</a:t>
                </a:r>
                <a:r>
                  <a:rPr lang="zh-CN" altLang="en-US" sz="1600" b="1" dirty="0"/>
                  <a:t>问题</a:t>
                </a:r>
                <a:endParaRPr lang="en-US" altLang="zh-CN" sz="1600" b="1" dirty="0"/>
              </a:p>
            </p:txBody>
          </p:sp>
          <p:sp>
            <p:nvSpPr>
              <p:cNvPr id="11" name="矩形 10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8124551" y="4334414"/>
                <a:ext cx="3242695" cy="9061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2" name="矩形 11">
                <a:extLst>
                  <a:ext uri="{FF2B5EF4-FFF2-40B4-BE49-F238E27FC236}">
                    <a16:creationId xmlns:a16="http://schemas.microsoft.com/office/drawing/2014/main" id="{F8E07573-A8E5-42F7-B445-E2E8E3B47ABD}"/>
                  </a:ext>
                </a:extLst>
              </p:cNvPr>
              <p:cNvSpPr/>
              <p:nvPr/>
            </p:nvSpPr>
            <p:spPr bwMode="auto">
              <a:xfrm>
                <a:off x="8124551" y="5240607"/>
                <a:ext cx="3242695" cy="90619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395054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6F99774-1906-4B05-BBD9-88BB6A2B7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解决问题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97448A5-AE12-4DBA-B26A-7D9D701FBD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AA91EC9-B4E6-4F2F-B9CD-690A16874B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9F6F7549-86E6-4D51-9BDB-A697BA1AB947}"/>
              </a:ext>
            </a:extLst>
          </p:cNvPr>
          <p:cNvGrpSpPr>
            <a:grpSpLocks noChangeAspect="1"/>
          </p:cNvGrpSpPr>
          <p:nvPr/>
        </p:nvGrpSpPr>
        <p:grpSpPr>
          <a:xfrm>
            <a:off x="675680" y="1314000"/>
            <a:ext cx="10845000" cy="4678174"/>
            <a:chOff x="675680" y="1314000"/>
            <a:chExt cx="10845000" cy="4678174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41721C00-C0DC-434B-8659-86A11E1B3478}"/>
                </a:ext>
              </a:extLst>
            </p:cNvPr>
            <p:cNvGrpSpPr/>
            <p:nvPr/>
          </p:nvGrpSpPr>
          <p:grpSpPr>
            <a:xfrm>
              <a:off x="8244680" y="4042673"/>
              <a:ext cx="3276000" cy="1180873"/>
              <a:chOff x="8244680" y="4093126"/>
              <a:chExt cx="3276000" cy="1180873"/>
            </a:xfrm>
          </p:grpSpPr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2E33F176-65D6-4214-BF49-87FC023ABFB1}"/>
                  </a:ext>
                </a:extLst>
              </p:cNvPr>
              <p:cNvSpPr txBox="1"/>
              <p:nvPr/>
            </p:nvSpPr>
            <p:spPr>
              <a:xfrm>
                <a:off x="8244680" y="4492799"/>
                <a:ext cx="3276000" cy="781200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anchor="ctr" anchorCtr="0">
                <a:noAutofit/>
              </a:bodyPr>
              <a:lstStyle/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Supporting text here.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When you copy &amp; paste, choose "keep text only" option.</a:t>
                </a:r>
              </a:p>
            </p:txBody>
          </p:sp>
          <p:sp>
            <p:nvSpPr>
              <p:cNvPr id="23" name="矩形 22">
                <a:extLst>
                  <a:ext uri="{FF2B5EF4-FFF2-40B4-BE49-F238E27FC236}">
                    <a16:creationId xmlns:a16="http://schemas.microsoft.com/office/drawing/2014/main" id="{2B93AD54-B4AA-4141-81EE-FE17B5FBA85E}"/>
                  </a:ext>
                </a:extLst>
              </p:cNvPr>
              <p:cNvSpPr/>
              <p:nvPr/>
            </p:nvSpPr>
            <p:spPr>
              <a:xfrm>
                <a:off x="8244680" y="4093126"/>
                <a:ext cx="3276000" cy="399673"/>
              </a:xfrm>
              <a:prstGeom prst="rect">
                <a:avLst/>
              </a:prstGeom>
            </p:spPr>
            <p:txBody>
              <a:bodyPr wrap="none" lIns="90000" tIns="46800" rIns="90000" bIns="46800" anchor="b" anchorCtr="0">
                <a:normAutofit/>
              </a:bodyPr>
              <a:lstStyle/>
              <a:p>
                <a:pPr>
                  <a:spcBef>
                    <a:spcPct val="0"/>
                  </a:spcBef>
                </a:pPr>
                <a:r>
                  <a:rPr lang="en-US" altLang="zh-CN" b="1" dirty="0"/>
                  <a:t>…</a:t>
                </a:r>
                <a:r>
                  <a:rPr lang="zh-CN" altLang="en-US" b="1" dirty="0"/>
                  <a:t>方法</a:t>
                </a:r>
                <a:endParaRPr lang="en-US" altLang="zh-CN" b="1" dirty="0"/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13FBDFB5-B5B6-4AB2-8AD9-0F01F9F386A0}"/>
                </a:ext>
              </a:extLst>
            </p:cNvPr>
            <p:cNvGrpSpPr/>
            <p:nvPr/>
          </p:nvGrpSpPr>
          <p:grpSpPr>
            <a:xfrm>
              <a:off x="675680" y="4042319"/>
              <a:ext cx="3276302" cy="1181227"/>
              <a:chOff x="675680" y="4092772"/>
              <a:chExt cx="3276302" cy="1181227"/>
            </a:xfrm>
          </p:grpSpPr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A11135B1-74A4-493F-9020-58980B3F3A9C}"/>
                  </a:ext>
                </a:extLst>
              </p:cNvPr>
              <p:cNvSpPr txBox="1"/>
              <p:nvPr/>
            </p:nvSpPr>
            <p:spPr>
              <a:xfrm>
                <a:off x="675680" y="4492444"/>
                <a:ext cx="3276302" cy="781555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anchor="ctr" anchorCtr="0">
                <a:noAutofit/>
              </a:bodyPr>
              <a:lstStyle/>
              <a:p>
                <a:pPr marL="171450" indent="-171450" algn="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Supporting text here.</a:t>
                </a:r>
              </a:p>
              <a:p>
                <a:pPr marL="171450" indent="-171450" algn="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When you copy &amp; paste, choose "keep text only" option.</a:t>
                </a:r>
              </a:p>
            </p:txBody>
          </p:sp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70A867C6-6BFC-4E46-83B9-24B4A0AE9CB3}"/>
                  </a:ext>
                </a:extLst>
              </p:cNvPr>
              <p:cNvSpPr/>
              <p:nvPr/>
            </p:nvSpPr>
            <p:spPr>
              <a:xfrm>
                <a:off x="675680" y="4092772"/>
                <a:ext cx="3276302" cy="399673"/>
              </a:xfrm>
              <a:prstGeom prst="rect">
                <a:avLst/>
              </a:prstGeom>
            </p:spPr>
            <p:txBody>
              <a:bodyPr wrap="none" lIns="90000" tIns="46800" rIns="90000" bIns="46800" anchor="b" anchorCtr="0">
                <a:normAutofit/>
              </a:bodyPr>
              <a:lstStyle/>
              <a:p>
                <a:pPr algn="r">
                  <a:spcBef>
                    <a:spcPct val="0"/>
                  </a:spcBef>
                </a:pPr>
                <a:r>
                  <a:rPr lang="en-US" altLang="zh-CN" b="1" dirty="0"/>
                  <a:t>…</a:t>
                </a:r>
                <a:r>
                  <a:rPr lang="zh-CN" altLang="en-US" b="1" dirty="0"/>
                  <a:t>方法</a:t>
                </a:r>
                <a:endParaRPr lang="en-US" altLang="zh-CN" b="1" dirty="0"/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5F287DBD-EA2A-4487-BFD0-E6623CB70237}"/>
                </a:ext>
              </a:extLst>
            </p:cNvPr>
            <p:cNvGrpSpPr/>
            <p:nvPr/>
          </p:nvGrpSpPr>
          <p:grpSpPr>
            <a:xfrm>
              <a:off x="8244680" y="2047817"/>
              <a:ext cx="3276000" cy="1180873"/>
              <a:chOff x="8244680" y="1622547"/>
              <a:chExt cx="3276000" cy="1180873"/>
            </a:xfrm>
          </p:grpSpPr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6C433990-C524-4A10-B5F0-1E84405D4C14}"/>
                  </a:ext>
                </a:extLst>
              </p:cNvPr>
              <p:cNvSpPr txBox="1"/>
              <p:nvPr/>
            </p:nvSpPr>
            <p:spPr>
              <a:xfrm>
                <a:off x="8244680" y="2022220"/>
                <a:ext cx="3276000" cy="781200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anchor="ctr" anchorCtr="0">
                <a:noAutofit/>
              </a:bodyPr>
              <a:lstStyle/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Supporting text here.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When you copy &amp; paste, choose "keep text only" option.</a:t>
                </a:r>
              </a:p>
            </p:txBody>
          </p:sp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8417DC24-BD83-466D-B638-971B03E0113C}"/>
                  </a:ext>
                </a:extLst>
              </p:cNvPr>
              <p:cNvSpPr/>
              <p:nvPr/>
            </p:nvSpPr>
            <p:spPr>
              <a:xfrm>
                <a:off x="8244680" y="1622547"/>
                <a:ext cx="3276000" cy="399673"/>
              </a:xfrm>
              <a:prstGeom prst="rect">
                <a:avLst/>
              </a:prstGeom>
            </p:spPr>
            <p:txBody>
              <a:bodyPr wrap="none" lIns="90000" tIns="46800" rIns="90000" bIns="46800" anchor="b" anchorCtr="0">
                <a:normAutofit/>
              </a:bodyPr>
              <a:lstStyle/>
              <a:p>
                <a:pPr>
                  <a:spcBef>
                    <a:spcPct val="0"/>
                  </a:spcBef>
                </a:pPr>
                <a:r>
                  <a:rPr lang="en-US" altLang="zh-CN" b="1" dirty="0"/>
                  <a:t>…</a:t>
                </a:r>
                <a:r>
                  <a:rPr lang="zh-CN" altLang="en-US" b="1" dirty="0"/>
                  <a:t>方法</a:t>
                </a:r>
                <a:endParaRPr lang="en-US" altLang="zh-CN" b="1" dirty="0"/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FBB0324A-B594-4451-A17A-05649D2D4ECB}"/>
                </a:ext>
              </a:extLst>
            </p:cNvPr>
            <p:cNvGrpSpPr/>
            <p:nvPr/>
          </p:nvGrpSpPr>
          <p:grpSpPr>
            <a:xfrm>
              <a:off x="675680" y="2047463"/>
              <a:ext cx="3276302" cy="1181227"/>
              <a:chOff x="675680" y="1622547"/>
              <a:chExt cx="3276302" cy="1181227"/>
            </a:xfrm>
          </p:grpSpPr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13B7944E-9321-4A76-8E3D-29B604615679}"/>
                  </a:ext>
                </a:extLst>
              </p:cNvPr>
              <p:cNvSpPr txBox="1"/>
              <p:nvPr/>
            </p:nvSpPr>
            <p:spPr>
              <a:xfrm>
                <a:off x="675680" y="2022219"/>
                <a:ext cx="3276302" cy="781555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anchor="ctr" anchorCtr="0">
                <a:noAutofit/>
              </a:bodyPr>
              <a:lstStyle/>
              <a:p>
                <a:pPr marL="171450" indent="-171450" algn="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Supporting text here.</a:t>
                </a:r>
              </a:p>
              <a:p>
                <a:pPr marL="171450" indent="-171450" algn="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When you copy &amp; paste, choose "keep text only" option.</a:t>
                </a:r>
              </a:p>
            </p:txBody>
          </p:sp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3D9DA88E-0CBC-4326-B930-018F3E7B8D7B}"/>
                  </a:ext>
                </a:extLst>
              </p:cNvPr>
              <p:cNvSpPr/>
              <p:nvPr/>
            </p:nvSpPr>
            <p:spPr>
              <a:xfrm>
                <a:off x="675680" y="1622547"/>
                <a:ext cx="3276302" cy="399673"/>
              </a:xfrm>
              <a:prstGeom prst="rect">
                <a:avLst/>
              </a:prstGeom>
            </p:spPr>
            <p:txBody>
              <a:bodyPr wrap="none" lIns="90000" tIns="46800" rIns="90000" bIns="46800" anchor="b" anchorCtr="0">
                <a:normAutofit/>
              </a:bodyPr>
              <a:lstStyle/>
              <a:p>
                <a:pPr algn="r">
                  <a:spcBef>
                    <a:spcPct val="0"/>
                  </a:spcBef>
                </a:pPr>
                <a:r>
                  <a:rPr lang="en-US" altLang="zh-CN" b="1" dirty="0"/>
                  <a:t>…</a:t>
                </a:r>
                <a:r>
                  <a:rPr lang="zh-CN" altLang="en-US" b="1" dirty="0"/>
                  <a:t>方法</a:t>
                </a:r>
                <a:endParaRPr lang="en-US" altLang="zh-CN" b="1" dirty="0"/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17BDA108-0673-4C15-9608-6A13117AC811}"/>
                </a:ext>
              </a:extLst>
            </p:cNvPr>
            <p:cNvGrpSpPr/>
            <p:nvPr/>
          </p:nvGrpSpPr>
          <p:grpSpPr>
            <a:xfrm>
              <a:off x="4152302" y="1314000"/>
              <a:ext cx="3887396" cy="4678174"/>
              <a:chOff x="4152302" y="823213"/>
              <a:chExt cx="3887396" cy="4678174"/>
            </a:xfrm>
          </p:grpSpPr>
          <p:sp>
            <p:nvSpPr>
              <p:cNvPr id="11" name="任意多边形: 形状 10">
                <a:extLst>
                  <a:ext uri="{FF2B5EF4-FFF2-40B4-BE49-F238E27FC236}">
                    <a16:creationId xmlns:a16="http://schemas.microsoft.com/office/drawing/2014/main" id="{3E31102B-373C-4033-B2FB-2CC768857433}"/>
                  </a:ext>
                </a:extLst>
              </p:cNvPr>
              <p:cNvSpPr/>
              <p:nvPr/>
            </p:nvSpPr>
            <p:spPr bwMode="auto">
              <a:xfrm>
                <a:off x="6745066" y="1021948"/>
                <a:ext cx="1294632" cy="3408031"/>
              </a:xfrm>
              <a:custGeom>
                <a:avLst/>
                <a:gdLst>
                  <a:gd name="T0" fmla="*/ 64 w 177"/>
                  <a:gd name="T1" fmla="*/ 433 h 468"/>
                  <a:gd name="T2" fmla="*/ 155 w 177"/>
                  <a:gd name="T3" fmla="*/ 98 h 468"/>
                  <a:gd name="T4" fmla="*/ 168 w 177"/>
                  <a:gd name="T5" fmla="*/ 50 h 468"/>
                  <a:gd name="T6" fmla="*/ 114 w 177"/>
                  <a:gd name="T7" fmla="*/ 35 h 468"/>
                  <a:gd name="T8" fmla="*/ 23 w 177"/>
                  <a:gd name="T9" fmla="*/ 370 h 468"/>
                  <a:gd name="T10" fmla="*/ 10 w 177"/>
                  <a:gd name="T11" fmla="*/ 418 h 468"/>
                  <a:gd name="T12" fmla="*/ 64 w 177"/>
                  <a:gd name="T13" fmla="*/ 433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7" h="468">
                    <a:moveTo>
                      <a:pt x="64" y="433"/>
                    </a:moveTo>
                    <a:cubicBezTo>
                      <a:pt x="94" y="321"/>
                      <a:pt x="124" y="210"/>
                      <a:pt x="155" y="98"/>
                    </a:cubicBezTo>
                    <a:cubicBezTo>
                      <a:pt x="159" y="82"/>
                      <a:pt x="163" y="66"/>
                      <a:pt x="168" y="50"/>
                    </a:cubicBezTo>
                    <a:cubicBezTo>
                      <a:pt x="177" y="15"/>
                      <a:pt x="123" y="0"/>
                      <a:pt x="114" y="35"/>
                    </a:cubicBezTo>
                    <a:cubicBezTo>
                      <a:pt x="83" y="147"/>
                      <a:pt x="53" y="259"/>
                      <a:pt x="23" y="370"/>
                    </a:cubicBezTo>
                    <a:cubicBezTo>
                      <a:pt x="18" y="386"/>
                      <a:pt x="14" y="402"/>
                      <a:pt x="10" y="418"/>
                    </a:cubicBezTo>
                    <a:cubicBezTo>
                      <a:pt x="0" y="453"/>
                      <a:pt x="54" y="468"/>
                      <a:pt x="64" y="433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" name="任意多边形: 形状 11">
                <a:extLst>
                  <a:ext uri="{FF2B5EF4-FFF2-40B4-BE49-F238E27FC236}">
                    <a16:creationId xmlns:a16="http://schemas.microsoft.com/office/drawing/2014/main" id="{BC9580AC-7FC9-44CB-88C9-0F1E7C5A8305}"/>
                  </a:ext>
                </a:extLst>
              </p:cNvPr>
              <p:cNvSpPr/>
              <p:nvPr/>
            </p:nvSpPr>
            <p:spPr bwMode="auto">
              <a:xfrm>
                <a:off x="6839540" y="823213"/>
                <a:ext cx="409384" cy="3418529"/>
              </a:xfrm>
              <a:custGeom>
                <a:avLst/>
                <a:gdLst>
                  <a:gd name="T0" fmla="*/ 56 w 56"/>
                  <a:gd name="T1" fmla="*/ 432 h 469"/>
                  <a:gd name="T2" fmla="*/ 56 w 56"/>
                  <a:gd name="T3" fmla="*/ 85 h 469"/>
                  <a:gd name="T4" fmla="*/ 56 w 56"/>
                  <a:gd name="T5" fmla="*/ 36 h 469"/>
                  <a:gd name="T6" fmla="*/ 0 w 56"/>
                  <a:gd name="T7" fmla="*/ 36 h 469"/>
                  <a:gd name="T8" fmla="*/ 0 w 56"/>
                  <a:gd name="T9" fmla="*/ 383 h 469"/>
                  <a:gd name="T10" fmla="*/ 0 w 56"/>
                  <a:gd name="T11" fmla="*/ 432 h 469"/>
                  <a:gd name="T12" fmla="*/ 56 w 56"/>
                  <a:gd name="T13" fmla="*/ 432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469">
                    <a:moveTo>
                      <a:pt x="56" y="432"/>
                    </a:moveTo>
                    <a:cubicBezTo>
                      <a:pt x="56" y="317"/>
                      <a:pt x="56" y="201"/>
                      <a:pt x="56" y="85"/>
                    </a:cubicBezTo>
                    <a:cubicBezTo>
                      <a:pt x="56" y="69"/>
                      <a:pt x="56" y="52"/>
                      <a:pt x="56" y="36"/>
                    </a:cubicBezTo>
                    <a:cubicBezTo>
                      <a:pt x="56" y="0"/>
                      <a:pt x="0" y="0"/>
                      <a:pt x="0" y="36"/>
                    </a:cubicBezTo>
                    <a:cubicBezTo>
                      <a:pt x="0" y="151"/>
                      <a:pt x="0" y="267"/>
                      <a:pt x="0" y="383"/>
                    </a:cubicBezTo>
                    <a:cubicBezTo>
                      <a:pt x="0" y="399"/>
                      <a:pt x="0" y="416"/>
                      <a:pt x="0" y="432"/>
                    </a:cubicBezTo>
                    <a:cubicBezTo>
                      <a:pt x="0" y="469"/>
                      <a:pt x="56" y="469"/>
                      <a:pt x="56" y="432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" name="任意多边形: 形状 12">
                <a:extLst>
                  <a:ext uri="{FF2B5EF4-FFF2-40B4-BE49-F238E27FC236}">
                    <a16:creationId xmlns:a16="http://schemas.microsoft.com/office/drawing/2014/main" id="{2AFC4B65-6419-423B-BE6C-EC4FC0B11BFB}"/>
                  </a:ext>
                </a:extLst>
              </p:cNvPr>
              <p:cNvSpPr/>
              <p:nvPr/>
            </p:nvSpPr>
            <p:spPr>
              <a:xfrm>
                <a:off x="6075585" y="1131760"/>
                <a:ext cx="943367" cy="2127593"/>
              </a:xfrm>
              <a:custGeom>
                <a:avLst/>
                <a:gdLst>
                  <a:gd name="connsiteX0" fmla="*/ 173278 w 709175"/>
                  <a:gd name="connsiteY0" fmla="*/ 314 h 1599415"/>
                  <a:gd name="connsiteX1" fmla="*/ 301695 w 709175"/>
                  <a:gd name="connsiteY1" fmla="*/ 109055 h 1599415"/>
                  <a:gd name="connsiteX2" fmla="*/ 680133 w 709175"/>
                  <a:gd name="connsiteY2" fmla="*/ 1499569 h 1599415"/>
                  <a:gd name="connsiteX3" fmla="*/ 704814 w 709175"/>
                  <a:gd name="connsiteY3" fmla="*/ 1584423 h 1599415"/>
                  <a:gd name="connsiteX4" fmla="*/ 709175 w 709175"/>
                  <a:gd name="connsiteY4" fmla="*/ 1599415 h 1599415"/>
                  <a:gd name="connsiteX5" fmla="*/ 391067 w 709175"/>
                  <a:gd name="connsiteY5" fmla="*/ 1599415 h 1599415"/>
                  <a:gd name="connsiteX6" fmla="*/ 386706 w 709175"/>
                  <a:gd name="connsiteY6" fmla="*/ 1584423 h 1599415"/>
                  <a:gd name="connsiteX7" fmla="*/ 362026 w 709175"/>
                  <a:gd name="connsiteY7" fmla="*/ 1499569 h 1599415"/>
                  <a:gd name="connsiteX8" fmla="*/ 76827 w 709175"/>
                  <a:gd name="connsiteY8" fmla="*/ 453946 h 1599415"/>
                  <a:gd name="connsiteX9" fmla="*/ 5527 w 709175"/>
                  <a:gd name="connsiteY9" fmla="*/ 191172 h 1599415"/>
                  <a:gd name="connsiteX10" fmla="*/ 173278 w 709175"/>
                  <a:gd name="connsiteY10" fmla="*/ 314 h 15994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09175" h="1599415">
                    <a:moveTo>
                      <a:pt x="173278" y="314"/>
                    </a:moveTo>
                    <a:cubicBezTo>
                      <a:pt x="229967" y="3843"/>
                      <a:pt x="283184" y="37203"/>
                      <a:pt x="301695" y="109055"/>
                    </a:cubicBezTo>
                    <a:cubicBezTo>
                      <a:pt x="427841" y="574385"/>
                      <a:pt x="553987" y="1034240"/>
                      <a:pt x="680133" y="1499569"/>
                    </a:cubicBezTo>
                    <a:cubicBezTo>
                      <a:pt x="688360" y="1526941"/>
                      <a:pt x="696587" y="1555682"/>
                      <a:pt x="704814" y="1584423"/>
                    </a:cubicBezTo>
                    <a:lnTo>
                      <a:pt x="709175" y="1599415"/>
                    </a:lnTo>
                    <a:lnTo>
                      <a:pt x="391067" y="1599415"/>
                    </a:lnTo>
                    <a:lnTo>
                      <a:pt x="386706" y="1584423"/>
                    </a:lnTo>
                    <a:cubicBezTo>
                      <a:pt x="378480" y="1555682"/>
                      <a:pt x="370253" y="1526941"/>
                      <a:pt x="362026" y="1499569"/>
                    </a:cubicBezTo>
                    <a:cubicBezTo>
                      <a:pt x="268788" y="1149203"/>
                      <a:pt x="175549" y="804312"/>
                      <a:pt x="76827" y="453946"/>
                    </a:cubicBezTo>
                    <a:cubicBezTo>
                      <a:pt x="54888" y="366355"/>
                      <a:pt x="32950" y="278764"/>
                      <a:pt x="5527" y="191172"/>
                    </a:cubicBezTo>
                    <a:cubicBezTo>
                      <a:pt x="-25324" y="71418"/>
                      <a:pt x="78797" y="-5566"/>
                      <a:pt x="173278" y="314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" name="任意多边形: 形状 13">
                <a:extLst>
                  <a:ext uri="{FF2B5EF4-FFF2-40B4-BE49-F238E27FC236}">
                    <a16:creationId xmlns:a16="http://schemas.microsoft.com/office/drawing/2014/main" id="{2A77FB84-5793-4C47-BCAE-281BB24ECB9D}"/>
                  </a:ext>
                </a:extLst>
              </p:cNvPr>
              <p:cNvSpPr/>
              <p:nvPr/>
            </p:nvSpPr>
            <p:spPr bwMode="auto">
              <a:xfrm>
                <a:off x="4152302" y="2243812"/>
                <a:ext cx="3128110" cy="3257575"/>
              </a:xfrm>
              <a:custGeom>
                <a:avLst/>
                <a:gdLst>
                  <a:gd name="T0" fmla="*/ 116 w 428"/>
                  <a:gd name="T1" fmla="*/ 116 h 447"/>
                  <a:gd name="T2" fmla="*/ 286 w 428"/>
                  <a:gd name="T3" fmla="*/ 97 h 447"/>
                  <a:gd name="T4" fmla="*/ 363 w 428"/>
                  <a:gd name="T5" fmla="*/ 221 h 447"/>
                  <a:gd name="T6" fmla="*/ 143 w 428"/>
                  <a:gd name="T7" fmla="*/ 358 h 447"/>
                  <a:gd name="T8" fmla="*/ 67 w 428"/>
                  <a:gd name="T9" fmla="*/ 208 h 447"/>
                  <a:gd name="T10" fmla="*/ 7 w 428"/>
                  <a:gd name="T11" fmla="*/ 208 h 447"/>
                  <a:gd name="T12" fmla="*/ 95 w 428"/>
                  <a:gd name="T13" fmla="*/ 398 h 447"/>
                  <a:gd name="T14" fmla="*/ 307 w 428"/>
                  <a:gd name="T15" fmla="*/ 415 h 447"/>
                  <a:gd name="T16" fmla="*/ 423 w 428"/>
                  <a:gd name="T17" fmla="*/ 240 h 447"/>
                  <a:gd name="T18" fmla="*/ 330 w 428"/>
                  <a:gd name="T19" fmla="*/ 53 h 447"/>
                  <a:gd name="T20" fmla="*/ 74 w 428"/>
                  <a:gd name="T21" fmla="*/ 74 h 447"/>
                  <a:gd name="T22" fmla="*/ 116 w 428"/>
                  <a:gd name="T23" fmla="*/ 116 h 4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28" h="447">
                    <a:moveTo>
                      <a:pt x="116" y="116"/>
                    </a:moveTo>
                    <a:cubicBezTo>
                      <a:pt x="163" y="75"/>
                      <a:pt x="231" y="67"/>
                      <a:pt x="286" y="97"/>
                    </a:cubicBezTo>
                    <a:cubicBezTo>
                      <a:pt x="331" y="122"/>
                      <a:pt x="361" y="169"/>
                      <a:pt x="363" y="221"/>
                    </a:cubicBezTo>
                    <a:cubicBezTo>
                      <a:pt x="368" y="334"/>
                      <a:pt x="244" y="414"/>
                      <a:pt x="143" y="358"/>
                    </a:cubicBezTo>
                    <a:cubicBezTo>
                      <a:pt x="89" y="328"/>
                      <a:pt x="61" y="269"/>
                      <a:pt x="67" y="208"/>
                    </a:cubicBezTo>
                    <a:cubicBezTo>
                      <a:pt x="71" y="169"/>
                      <a:pt x="11" y="170"/>
                      <a:pt x="7" y="208"/>
                    </a:cubicBezTo>
                    <a:cubicBezTo>
                      <a:pt x="0" y="282"/>
                      <a:pt x="34" y="355"/>
                      <a:pt x="95" y="398"/>
                    </a:cubicBezTo>
                    <a:cubicBezTo>
                      <a:pt x="156" y="442"/>
                      <a:pt x="239" y="447"/>
                      <a:pt x="307" y="415"/>
                    </a:cubicBezTo>
                    <a:cubicBezTo>
                      <a:pt x="374" y="383"/>
                      <a:pt x="418" y="314"/>
                      <a:pt x="423" y="240"/>
                    </a:cubicBezTo>
                    <a:cubicBezTo>
                      <a:pt x="428" y="166"/>
                      <a:pt x="391" y="94"/>
                      <a:pt x="330" y="53"/>
                    </a:cubicBezTo>
                    <a:cubicBezTo>
                      <a:pt x="250" y="0"/>
                      <a:pt x="145" y="12"/>
                      <a:pt x="74" y="74"/>
                    </a:cubicBezTo>
                    <a:cubicBezTo>
                      <a:pt x="44" y="99"/>
                      <a:pt x="87" y="142"/>
                      <a:pt x="116" y="11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" name="任意多边形: 形状 14">
                <a:extLst>
                  <a:ext uri="{FF2B5EF4-FFF2-40B4-BE49-F238E27FC236}">
                    <a16:creationId xmlns:a16="http://schemas.microsoft.com/office/drawing/2014/main" id="{C5E10B27-A24C-495C-A9F2-8723EF8C4F4A}"/>
                  </a:ext>
                </a:extLst>
              </p:cNvPr>
              <p:cNvSpPr/>
              <p:nvPr/>
            </p:nvSpPr>
            <p:spPr bwMode="auto">
              <a:xfrm>
                <a:off x="5167211" y="3427884"/>
                <a:ext cx="1029534" cy="952486"/>
              </a:xfrm>
              <a:custGeom>
                <a:avLst/>
                <a:gdLst/>
                <a:ahLst/>
                <a:cxnLst>
                  <a:cxn ang="0">
                    <a:pos x="39" y="36"/>
                  </a:cxn>
                  <a:cxn ang="0">
                    <a:pos x="41" y="44"/>
                  </a:cxn>
                  <a:cxn ang="0">
                    <a:pos x="35" y="50"/>
                  </a:cxn>
                  <a:cxn ang="0">
                    <a:pos x="27" y="53"/>
                  </a:cxn>
                  <a:cxn ang="0">
                    <a:pos x="18" y="53"/>
                  </a:cxn>
                  <a:cxn ang="0">
                    <a:pos x="11" y="50"/>
                  </a:cxn>
                  <a:cxn ang="0">
                    <a:pos x="4" y="44"/>
                  </a:cxn>
                  <a:cxn ang="0">
                    <a:pos x="6" y="36"/>
                  </a:cxn>
                  <a:cxn ang="0">
                    <a:pos x="0" y="28"/>
                  </a:cxn>
                  <a:cxn ang="0">
                    <a:pos x="7" y="23"/>
                  </a:cxn>
                  <a:cxn ang="0">
                    <a:pos x="4" y="18"/>
                  </a:cxn>
                  <a:cxn ang="0">
                    <a:pos x="15" y="16"/>
                  </a:cxn>
                  <a:cxn ang="0">
                    <a:pos x="19" y="8"/>
                  </a:cxn>
                  <a:cxn ang="0">
                    <a:pos x="28" y="15"/>
                  </a:cxn>
                  <a:cxn ang="0">
                    <a:pos x="35" y="12"/>
                  </a:cxn>
                  <a:cxn ang="0">
                    <a:pos x="41" y="19"/>
                  </a:cxn>
                  <a:cxn ang="0">
                    <a:pos x="45" y="27"/>
                  </a:cxn>
                  <a:cxn ang="0">
                    <a:pos x="23" y="22"/>
                  </a:cxn>
                  <a:cxn ang="0">
                    <a:pos x="32" y="31"/>
                  </a:cxn>
                  <a:cxn ang="0">
                    <a:pos x="63" y="16"/>
                  </a:cxn>
                  <a:cxn ang="0">
                    <a:pos x="64" y="24"/>
                  </a:cxn>
                  <a:cxn ang="0">
                    <a:pos x="55" y="22"/>
                  </a:cxn>
                  <a:cxn ang="0">
                    <a:pos x="46" y="24"/>
                  </a:cxn>
                  <a:cxn ang="0">
                    <a:pos x="46" y="16"/>
                  </a:cxn>
                  <a:cxn ang="0">
                    <a:pos x="46" y="9"/>
                  </a:cxn>
                  <a:cxn ang="0">
                    <a:pos x="46" y="2"/>
                  </a:cxn>
                  <a:cxn ang="0">
                    <a:pos x="55" y="4"/>
                  </a:cxn>
                  <a:cxn ang="0">
                    <a:pos x="59" y="0"/>
                  </a:cxn>
                  <a:cxn ang="0">
                    <a:pos x="62" y="7"/>
                  </a:cxn>
                  <a:cxn ang="0">
                    <a:pos x="68" y="15"/>
                  </a:cxn>
                  <a:cxn ang="0">
                    <a:pos x="62" y="55"/>
                  </a:cxn>
                  <a:cxn ang="0">
                    <a:pos x="59" y="63"/>
                  </a:cxn>
                  <a:cxn ang="0">
                    <a:pos x="54" y="59"/>
                  </a:cxn>
                  <a:cxn ang="0">
                    <a:pos x="45" y="60"/>
                  </a:cxn>
                  <a:cxn ang="0">
                    <a:pos x="41" y="52"/>
                  </a:cxn>
                  <a:cxn ang="0">
                    <a:pos x="47" y="44"/>
                  </a:cxn>
                  <a:cxn ang="0">
                    <a:pos x="50" y="36"/>
                  </a:cxn>
                  <a:cxn ang="0">
                    <a:pos x="56" y="40"/>
                  </a:cxn>
                  <a:cxn ang="0">
                    <a:pos x="64" y="39"/>
                  </a:cxn>
                  <a:cxn ang="0">
                    <a:pos x="63" y="46"/>
                  </a:cxn>
                  <a:cxn ang="0">
                    <a:pos x="55" y="8"/>
                  </a:cxn>
                  <a:cxn ang="0">
                    <a:pos x="59" y="13"/>
                  </a:cxn>
                  <a:cxn ang="0">
                    <a:pos x="50" y="49"/>
                  </a:cxn>
                  <a:cxn ang="0">
                    <a:pos x="55" y="45"/>
                  </a:cxn>
                </a:cxnLst>
                <a:rect l="0" t="0" r="r" b="b"/>
                <a:pathLst>
                  <a:path w="68" h="63">
                    <a:moveTo>
                      <a:pt x="45" y="35"/>
                    </a:moveTo>
                    <a:cubicBezTo>
                      <a:pt x="45" y="35"/>
                      <a:pt x="45" y="36"/>
                      <a:pt x="45" y="36"/>
                    </a:cubicBezTo>
                    <a:cubicBezTo>
                      <a:pt x="39" y="36"/>
                      <a:pt x="39" y="36"/>
                      <a:pt x="39" y="36"/>
                    </a:cubicBezTo>
                    <a:cubicBezTo>
                      <a:pt x="39" y="37"/>
                      <a:pt x="38" y="38"/>
                      <a:pt x="38" y="39"/>
                    </a:cubicBezTo>
                    <a:cubicBezTo>
                      <a:pt x="39" y="41"/>
                      <a:pt x="40" y="42"/>
                      <a:pt x="41" y="43"/>
                    </a:cubicBezTo>
                    <a:cubicBezTo>
                      <a:pt x="41" y="43"/>
                      <a:pt x="41" y="44"/>
                      <a:pt x="41" y="44"/>
                    </a:cubicBezTo>
                    <a:cubicBezTo>
                      <a:pt x="41" y="44"/>
                      <a:pt x="41" y="44"/>
                      <a:pt x="41" y="45"/>
                    </a:cubicBezTo>
                    <a:cubicBezTo>
                      <a:pt x="40" y="46"/>
                      <a:pt x="36" y="50"/>
                      <a:pt x="35" y="50"/>
                    </a:cubicBezTo>
                    <a:cubicBezTo>
                      <a:pt x="35" y="50"/>
                      <a:pt x="35" y="50"/>
                      <a:pt x="35" y="50"/>
                    </a:cubicBezTo>
                    <a:cubicBezTo>
                      <a:pt x="31" y="47"/>
                      <a:pt x="31" y="47"/>
                      <a:pt x="31" y="47"/>
                    </a:cubicBezTo>
                    <a:cubicBezTo>
                      <a:pt x="30" y="47"/>
                      <a:pt x="29" y="47"/>
                      <a:pt x="28" y="48"/>
                    </a:cubicBezTo>
                    <a:cubicBezTo>
                      <a:pt x="28" y="49"/>
                      <a:pt x="27" y="51"/>
                      <a:pt x="27" y="53"/>
                    </a:cubicBezTo>
                    <a:cubicBezTo>
                      <a:pt x="27" y="54"/>
                      <a:pt x="26" y="54"/>
                      <a:pt x="26" y="54"/>
                    </a:cubicBezTo>
                    <a:cubicBezTo>
                      <a:pt x="19" y="54"/>
                      <a:pt x="19" y="54"/>
                      <a:pt x="19" y="54"/>
                    </a:cubicBezTo>
                    <a:cubicBezTo>
                      <a:pt x="19" y="54"/>
                      <a:pt x="18" y="54"/>
                      <a:pt x="18" y="53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6" y="47"/>
                      <a:pt x="16" y="47"/>
                      <a:pt x="15" y="47"/>
                    </a:cubicBezTo>
                    <a:cubicBezTo>
                      <a:pt x="11" y="50"/>
                      <a:pt x="11" y="50"/>
                      <a:pt x="11" y="50"/>
                    </a:cubicBezTo>
                    <a:cubicBezTo>
                      <a:pt x="10" y="50"/>
                      <a:pt x="10" y="50"/>
                      <a:pt x="10" y="50"/>
                    </a:cubicBezTo>
                    <a:cubicBezTo>
                      <a:pt x="10" y="50"/>
                      <a:pt x="9" y="50"/>
                      <a:pt x="9" y="50"/>
                    </a:cubicBezTo>
                    <a:cubicBezTo>
                      <a:pt x="8" y="49"/>
                      <a:pt x="4" y="45"/>
                      <a:pt x="4" y="44"/>
                    </a:cubicBezTo>
                    <a:cubicBezTo>
                      <a:pt x="4" y="44"/>
                      <a:pt x="4" y="44"/>
                      <a:pt x="4" y="43"/>
                    </a:cubicBezTo>
                    <a:cubicBezTo>
                      <a:pt x="5" y="42"/>
                      <a:pt x="6" y="41"/>
                      <a:pt x="7" y="39"/>
                    </a:cubicBezTo>
                    <a:cubicBezTo>
                      <a:pt x="7" y="38"/>
                      <a:pt x="6" y="37"/>
                      <a:pt x="6" y="36"/>
                    </a:cubicBezTo>
                    <a:cubicBezTo>
                      <a:pt x="1" y="35"/>
                      <a:pt x="1" y="35"/>
                      <a:pt x="1" y="35"/>
                    </a:cubicBezTo>
                    <a:cubicBezTo>
                      <a:pt x="0" y="35"/>
                      <a:pt x="0" y="35"/>
                      <a:pt x="0" y="3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7"/>
                      <a:pt x="0" y="27"/>
                      <a:pt x="1" y="27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6" y="25"/>
                      <a:pt x="7" y="24"/>
                      <a:pt x="7" y="23"/>
                    </a:cubicBezTo>
                    <a:cubicBezTo>
                      <a:pt x="6" y="22"/>
                      <a:pt x="5" y="20"/>
                      <a:pt x="4" y="19"/>
                    </a:cubicBezTo>
                    <a:cubicBezTo>
                      <a:pt x="4" y="19"/>
                      <a:pt x="4" y="19"/>
                      <a:pt x="4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5" y="17"/>
                      <a:pt x="9" y="12"/>
                      <a:pt x="10" y="12"/>
                    </a:cubicBezTo>
                    <a:cubicBezTo>
                      <a:pt x="10" y="12"/>
                      <a:pt x="10" y="12"/>
                      <a:pt x="11" y="13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6" y="15"/>
                      <a:pt x="16" y="15"/>
                      <a:pt x="17" y="15"/>
                    </a:cubicBezTo>
                    <a:cubicBezTo>
                      <a:pt x="18" y="13"/>
                      <a:pt x="18" y="11"/>
                      <a:pt x="18" y="9"/>
                    </a:cubicBezTo>
                    <a:cubicBezTo>
                      <a:pt x="18" y="9"/>
                      <a:pt x="19" y="8"/>
                      <a:pt x="19" y="8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6" y="8"/>
                      <a:pt x="27" y="9"/>
                      <a:pt x="27" y="9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9" y="15"/>
                      <a:pt x="30" y="15"/>
                      <a:pt x="31" y="16"/>
                    </a:cubicBezTo>
                    <a:cubicBezTo>
                      <a:pt x="35" y="13"/>
                      <a:pt x="35" y="13"/>
                      <a:pt x="35" y="13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6" y="12"/>
                      <a:pt x="36" y="12"/>
                      <a:pt x="36" y="13"/>
                    </a:cubicBezTo>
                    <a:cubicBezTo>
                      <a:pt x="37" y="13"/>
                      <a:pt x="41" y="17"/>
                      <a:pt x="41" y="18"/>
                    </a:cubicBezTo>
                    <a:cubicBezTo>
                      <a:pt x="41" y="19"/>
                      <a:pt x="41" y="19"/>
                      <a:pt x="41" y="19"/>
                    </a:cubicBezTo>
                    <a:cubicBezTo>
                      <a:pt x="40" y="20"/>
                      <a:pt x="39" y="22"/>
                      <a:pt x="38" y="23"/>
                    </a:cubicBezTo>
                    <a:cubicBezTo>
                      <a:pt x="38" y="24"/>
                      <a:pt x="39" y="25"/>
                      <a:pt x="39" y="26"/>
                    </a:cubicBezTo>
                    <a:cubicBezTo>
                      <a:pt x="45" y="27"/>
                      <a:pt x="45" y="27"/>
                      <a:pt x="45" y="27"/>
                    </a:cubicBezTo>
                    <a:cubicBezTo>
                      <a:pt x="45" y="27"/>
                      <a:pt x="45" y="27"/>
                      <a:pt x="45" y="28"/>
                    </a:cubicBezTo>
                    <a:lnTo>
                      <a:pt x="45" y="35"/>
                    </a:lnTo>
                    <a:close/>
                    <a:moveTo>
                      <a:pt x="23" y="22"/>
                    </a:moveTo>
                    <a:cubicBezTo>
                      <a:pt x="18" y="22"/>
                      <a:pt x="13" y="26"/>
                      <a:pt x="13" y="31"/>
                    </a:cubicBezTo>
                    <a:cubicBezTo>
                      <a:pt x="13" y="36"/>
                      <a:pt x="18" y="40"/>
                      <a:pt x="23" y="40"/>
                    </a:cubicBezTo>
                    <a:cubicBezTo>
                      <a:pt x="28" y="40"/>
                      <a:pt x="32" y="36"/>
                      <a:pt x="32" y="31"/>
                    </a:cubicBezTo>
                    <a:cubicBezTo>
                      <a:pt x="32" y="26"/>
                      <a:pt x="28" y="22"/>
                      <a:pt x="23" y="22"/>
                    </a:cubicBezTo>
                    <a:close/>
                    <a:moveTo>
                      <a:pt x="68" y="15"/>
                    </a:moveTo>
                    <a:cubicBezTo>
                      <a:pt x="68" y="16"/>
                      <a:pt x="64" y="16"/>
                      <a:pt x="63" y="16"/>
                    </a:cubicBezTo>
                    <a:cubicBezTo>
                      <a:pt x="63" y="17"/>
                      <a:pt x="62" y="18"/>
                      <a:pt x="62" y="18"/>
                    </a:cubicBezTo>
                    <a:cubicBezTo>
                      <a:pt x="62" y="19"/>
                      <a:pt x="64" y="23"/>
                      <a:pt x="64" y="23"/>
                    </a:cubicBezTo>
                    <a:cubicBezTo>
                      <a:pt x="64" y="23"/>
                      <a:pt x="64" y="23"/>
                      <a:pt x="64" y="24"/>
                    </a:cubicBezTo>
                    <a:cubicBezTo>
                      <a:pt x="63" y="24"/>
                      <a:pt x="59" y="26"/>
                      <a:pt x="59" y="26"/>
                    </a:cubicBezTo>
                    <a:cubicBezTo>
                      <a:pt x="59" y="26"/>
                      <a:pt x="56" y="22"/>
                      <a:pt x="56" y="22"/>
                    </a:cubicBezTo>
                    <a:cubicBezTo>
                      <a:pt x="55" y="22"/>
                      <a:pt x="55" y="22"/>
                      <a:pt x="55" y="22"/>
                    </a:cubicBezTo>
                    <a:cubicBezTo>
                      <a:pt x="54" y="22"/>
                      <a:pt x="54" y="22"/>
                      <a:pt x="54" y="22"/>
                    </a:cubicBezTo>
                    <a:cubicBezTo>
                      <a:pt x="53" y="22"/>
                      <a:pt x="50" y="26"/>
                      <a:pt x="50" y="26"/>
                    </a:cubicBezTo>
                    <a:cubicBezTo>
                      <a:pt x="50" y="26"/>
                      <a:pt x="46" y="24"/>
                      <a:pt x="46" y="24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5" y="23"/>
                      <a:pt x="47" y="19"/>
                      <a:pt x="47" y="18"/>
                    </a:cubicBezTo>
                    <a:cubicBezTo>
                      <a:pt x="47" y="18"/>
                      <a:pt x="46" y="17"/>
                      <a:pt x="46" y="16"/>
                    </a:cubicBezTo>
                    <a:cubicBezTo>
                      <a:pt x="45" y="16"/>
                      <a:pt x="41" y="16"/>
                      <a:pt x="41" y="15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1" y="10"/>
                      <a:pt x="45" y="9"/>
                      <a:pt x="46" y="9"/>
                    </a:cubicBezTo>
                    <a:cubicBezTo>
                      <a:pt x="46" y="9"/>
                      <a:pt x="47" y="8"/>
                      <a:pt x="47" y="7"/>
                    </a:cubicBezTo>
                    <a:cubicBezTo>
                      <a:pt x="47" y="7"/>
                      <a:pt x="45" y="3"/>
                      <a:pt x="45" y="2"/>
                    </a:cubicBezTo>
                    <a:cubicBezTo>
                      <a:pt x="45" y="2"/>
                      <a:pt x="45" y="2"/>
                      <a:pt x="46" y="2"/>
                    </a:cubicBezTo>
                    <a:cubicBezTo>
                      <a:pt x="46" y="2"/>
                      <a:pt x="50" y="0"/>
                      <a:pt x="50" y="0"/>
                    </a:cubicBezTo>
                    <a:cubicBezTo>
                      <a:pt x="50" y="0"/>
                      <a:pt x="53" y="3"/>
                      <a:pt x="54" y="4"/>
                    </a:cubicBezTo>
                    <a:cubicBezTo>
                      <a:pt x="54" y="4"/>
                      <a:pt x="54" y="4"/>
                      <a:pt x="55" y="4"/>
                    </a:cubicBezTo>
                    <a:cubicBezTo>
                      <a:pt x="55" y="4"/>
                      <a:pt x="55" y="4"/>
                      <a:pt x="56" y="4"/>
                    </a:cubicBezTo>
                    <a:cubicBezTo>
                      <a:pt x="57" y="2"/>
                      <a:pt x="58" y="1"/>
                      <a:pt x="59" y="0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59" y="0"/>
                      <a:pt x="63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ubicBezTo>
                      <a:pt x="64" y="3"/>
                      <a:pt x="62" y="7"/>
                      <a:pt x="62" y="7"/>
                    </a:cubicBezTo>
                    <a:cubicBezTo>
                      <a:pt x="62" y="8"/>
                      <a:pt x="63" y="9"/>
                      <a:pt x="63" y="9"/>
                    </a:cubicBezTo>
                    <a:cubicBezTo>
                      <a:pt x="64" y="9"/>
                      <a:pt x="68" y="10"/>
                      <a:pt x="68" y="10"/>
                    </a:cubicBezTo>
                    <a:lnTo>
                      <a:pt x="68" y="15"/>
                    </a:lnTo>
                    <a:close/>
                    <a:moveTo>
                      <a:pt x="68" y="52"/>
                    </a:moveTo>
                    <a:cubicBezTo>
                      <a:pt x="68" y="52"/>
                      <a:pt x="64" y="53"/>
                      <a:pt x="63" y="53"/>
                    </a:cubicBezTo>
                    <a:cubicBezTo>
                      <a:pt x="63" y="54"/>
                      <a:pt x="62" y="54"/>
                      <a:pt x="62" y="55"/>
                    </a:cubicBezTo>
                    <a:cubicBezTo>
                      <a:pt x="62" y="56"/>
                      <a:pt x="64" y="59"/>
                      <a:pt x="64" y="60"/>
                    </a:cubicBezTo>
                    <a:cubicBezTo>
                      <a:pt x="64" y="60"/>
                      <a:pt x="64" y="60"/>
                      <a:pt x="64" y="60"/>
                    </a:cubicBezTo>
                    <a:cubicBezTo>
                      <a:pt x="63" y="60"/>
                      <a:pt x="59" y="63"/>
                      <a:pt x="59" y="63"/>
                    </a:cubicBezTo>
                    <a:cubicBezTo>
                      <a:pt x="59" y="63"/>
                      <a:pt x="56" y="59"/>
                      <a:pt x="56" y="59"/>
                    </a:cubicBezTo>
                    <a:cubicBezTo>
                      <a:pt x="55" y="59"/>
                      <a:pt x="55" y="59"/>
                      <a:pt x="55" y="59"/>
                    </a:cubicBezTo>
                    <a:cubicBezTo>
                      <a:pt x="54" y="59"/>
                      <a:pt x="54" y="59"/>
                      <a:pt x="54" y="59"/>
                    </a:cubicBezTo>
                    <a:cubicBezTo>
                      <a:pt x="53" y="59"/>
                      <a:pt x="50" y="63"/>
                      <a:pt x="50" y="63"/>
                    </a:cubicBezTo>
                    <a:cubicBezTo>
                      <a:pt x="50" y="63"/>
                      <a:pt x="46" y="60"/>
                      <a:pt x="46" y="60"/>
                    </a:cubicBezTo>
                    <a:cubicBezTo>
                      <a:pt x="45" y="60"/>
                      <a:pt x="45" y="60"/>
                      <a:pt x="45" y="60"/>
                    </a:cubicBezTo>
                    <a:cubicBezTo>
                      <a:pt x="45" y="59"/>
                      <a:pt x="47" y="56"/>
                      <a:pt x="47" y="55"/>
                    </a:cubicBezTo>
                    <a:cubicBezTo>
                      <a:pt x="47" y="54"/>
                      <a:pt x="46" y="54"/>
                      <a:pt x="46" y="53"/>
                    </a:cubicBezTo>
                    <a:cubicBezTo>
                      <a:pt x="45" y="53"/>
                      <a:pt x="41" y="52"/>
                      <a:pt x="41" y="52"/>
                    </a:cubicBezTo>
                    <a:cubicBezTo>
                      <a:pt x="41" y="47"/>
                      <a:pt x="41" y="47"/>
                      <a:pt x="41" y="47"/>
                    </a:cubicBezTo>
                    <a:cubicBezTo>
                      <a:pt x="41" y="46"/>
                      <a:pt x="45" y="46"/>
                      <a:pt x="46" y="46"/>
                    </a:cubicBezTo>
                    <a:cubicBezTo>
                      <a:pt x="46" y="45"/>
                      <a:pt x="47" y="45"/>
                      <a:pt x="47" y="44"/>
                    </a:cubicBezTo>
                    <a:cubicBezTo>
                      <a:pt x="47" y="43"/>
                      <a:pt x="45" y="40"/>
                      <a:pt x="45" y="39"/>
                    </a:cubicBezTo>
                    <a:cubicBezTo>
                      <a:pt x="45" y="39"/>
                      <a:pt x="45" y="39"/>
                      <a:pt x="46" y="39"/>
                    </a:cubicBezTo>
                    <a:cubicBezTo>
                      <a:pt x="46" y="39"/>
                      <a:pt x="50" y="36"/>
                      <a:pt x="50" y="36"/>
                    </a:cubicBezTo>
                    <a:cubicBezTo>
                      <a:pt x="50" y="36"/>
                      <a:pt x="53" y="40"/>
                      <a:pt x="54" y="40"/>
                    </a:cubicBezTo>
                    <a:cubicBezTo>
                      <a:pt x="54" y="40"/>
                      <a:pt x="54" y="40"/>
                      <a:pt x="55" y="40"/>
                    </a:cubicBezTo>
                    <a:cubicBezTo>
                      <a:pt x="55" y="40"/>
                      <a:pt x="55" y="40"/>
                      <a:pt x="56" y="40"/>
                    </a:cubicBezTo>
                    <a:cubicBezTo>
                      <a:pt x="57" y="39"/>
                      <a:pt x="58" y="38"/>
                      <a:pt x="59" y="36"/>
                    </a:cubicBezTo>
                    <a:cubicBezTo>
                      <a:pt x="59" y="36"/>
                      <a:pt x="59" y="36"/>
                      <a:pt x="59" y="36"/>
                    </a:cubicBezTo>
                    <a:cubicBezTo>
                      <a:pt x="59" y="36"/>
                      <a:pt x="63" y="39"/>
                      <a:pt x="64" y="39"/>
                    </a:cubicBezTo>
                    <a:cubicBezTo>
                      <a:pt x="64" y="39"/>
                      <a:pt x="64" y="39"/>
                      <a:pt x="64" y="39"/>
                    </a:cubicBezTo>
                    <a:cubicBezTo>
                      <a:pt x="64" y="40"/>
                      <a:pt x="62" y="43"/>
                      <a:pt x="62" y="44"/>
                    </a:cubicBezTo>
                    <a:cubicBezTo>
                      <a:pt x="62" y="45"/>
                      <a:pt x="63" y="45"/>
                      <a:pt x="63" y="46"/>
                    </a:cubicBezTo>
                    <a:cubicBezTo>
                      <a:pt x="64" y="46"/>
                      <a:pt x="68" y="46"/>
                      <a:pt x="68" y="47"/>
                    </a:cubicBezTo>
                    <a:lnTo>
                      <a:pt x="68" y="52"/>
                    </a:lnTo>
                    <a:close/>
                    <a:moveTo>
                      <a:pt x="55" y="8"/>
                    </a:moveTo>
                    <a:cubicBezTo>
                      <a:pt x="52" y="8"/>
                      <a:pt x="50" y="10"/>
                      <a:pt x="50" y="13"/>
                    </a:cubicBezTo>
                    <a:cubicBezTo>
                      <a:pt x="50" y="15"/>
                      <a:pt x="52" y="17"/>
                      <a:pt x="55" y="17"/>
                    </a:cubicBezTo>
                    <a:cubicBezTo>
                      <a:pt x="57" y="17"/>
                      <a:pt x="59" y="15"/>
                      <a:pt x="59" y="13"/>
                    </a:cubicBezTo>
                    <a:cubicBezTo>
                      <a:pt x="59" y="10"/>
                      <a:pt x="57" y="8"/>
                      <a:pt x="55" y="8"/>
                    </a:cubicBezTo>
                    <a:close/>
                    <a:moveTo>
                      <a:pt x="55" y="45"/>
                    </a:moveTo>
                    <a:cubicBezTo>
                      <a:pt x="52" y="45"/>
                      <a:pt x="50" y="47"/>
                      <a:pt x="50" y="49"/>
                    </a:cubicBezTo>
                    <a:cubicBezTo>
                      <a:pt x="50" y="52"/>
                      <a:pt x="52" y="54"/>
                      <a:pt x="55" y="54"/>
                    </a:cubicBezTo>
                    <a:cubicBezTo>
                      <a:pt x="57" y="54"/>
                      <a:pt x="59" y="52"/>
                      <a:pt x="59" y="49"/>
                    </a:cubicBezTo>
                    <a:cubicBezTo>
                      <a:pt x="59" y="47"/>
                      <a:pt x="57" y="45"/>
                      <a:pt x="55" y="4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54859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总结经验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91562" y="1586591"/>
            <a:ext cx="10529220" cy="4525468"/>
            <a:chOff x="691562" y="1586591"/>
            <a:chExt cx="10529220" cy="4525468"/>
          </a:xfrm>
        </p:grpSpPr>
        <p:grpSp>
          <p:nvGrpSpPr>
            <p:cNvPr id="6" name="组合 5"/>
            <p:cNvGrpSpPr/>
            <p:nvPr/>
          </p:nvGrpSpPr>
          <p:grpSpPr>
            <a:xfrm>
              <a:off x="692662" y="1995141"/>
              <a:ext cx="3798000" cy="932802"/>
              <a:chOff x="678725" y="1995141"/>
              <a:chExt cx="3798000" cy="932802"/>
            </a:xfrm>
          </p:grpSpPr>
          <p:sp>
            <p:nvSpPr>
              <p:cNvPr id="32" name="文本框 31"/>
              <p:cNvSpPr txBox="1"/>
              <p:nvPr/>
            </p:nvSpPr>
            <p:spPr>
              <a:xfrm>
                <a:off x="678725" y="1995141"/>
                <a:ext cx="3798000" cy="323165"/>
              </a:xfrm>
              <a:prstGeom prst="rect">
                <a:avLst/>
              </a:prstGeom>
              <a:noFill/>
            </p:spPr>
            <p:txBody>
              <a:bodyPr wrap="none">
                <a:normAutofit lnSpcReduction="10000"/>
              </a:bodyPr>
              <a:lstStyle/>
              <a:p>
                <a:pPr algn="r"/>
                <a:r>
                  <a:rPr lang="en-US" altLang="zh-CN" sz="1600" b="1" dirty="0"/>
                  <a:t>…</a:t>
                </a:r>
                <a:r>
                  <a:rPr lang="zh-CN" altLang="en-US" sz="1600" b="1" dirty="0"/>
                  <a:t>经验</a:t>
                </a:r>
              </a:p>
            </p:txBody>
          </p:sp>
          <p:sp>
            <p:nvSpPr>
              <p:cNvPr id="33" name="文本框 32"/>
              <p:cNvSpPr txBox="1"/>
              <p:nvPr/>
            </p:nvSpPr>
            <p:spPr>
              <a:xfrm>
                <a:off x="678725" y="2318307"/>
                <a:ext cx="3798000" cy="609636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anchor="ctr" anchorCtr="0">
                <a:normAutofit fontScale="62500" lnSpcReduction="20000"/>
              </a:bodyPr>
              <a:lstStyle/>
              <a:p>
                <a:pPr marL="171450" indent="-171450" algn="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Supporting text here.</a:t>
                </a:r>
              </a:p>
              <a:p>
                <a:pPr marL="171450" indent="-171450" algn="r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dirty="0"/>
                  <a:t>When you copy &amp; paste, choose "keep text only" option.</a:t>
                </a:r>
              </a:p>
            </p:txBody>
          </p:sp>
        </p:grpSp>
        <p:grpSp>
          <p:nvGrpSpPr>
            <p:cNvPr id="7" name="组合 6"/>
            <p:cNvGrpSpPr/>
            <p:nvPr/>
          </p:nvGrpSpPr>
          <p:grpSpPr>
            <a:xfrm>
              <a:off x="7422782" y="1586591"/>
              <a:ext cx="3798000" cy="932802"/>
              <a:chOff x="7523675" y="1663572"/>
              <a:chExt cx="3798000" cy="932802"/>
            </a:xfrm>
          </p:grpSpPr>
          <p:sp>
            <p:nvSpPr>
              <p:cNvPr id="30" name="文本框 29"/>
              <p:cNvSpPr txBox="1"/>
              <p:nvPr/>
            </p:nvSpPr>
            <p:spPr>
              <a:xfrm>
                <a:off x="7523675" y="1663572"/>
                <a:ext cx="3798000" cy="323165"/>
              </a:xfrm>
              <a:prstGeom prst="rect">
                <a:avLst/>
              </a:prstGeom>
              <a:noFill/>
            </p:spPr>
            <p:txBody>
              <a:bodyPr wrap="none">
                <a:normAutofit lnSpcReduction="10000"/>
              </a:bodyPr>
              <a:lstStyle/>
              <a:p>
                <a:r>
                  <a:rPr lang="en-US" altLang="zh-CN" sz="1600" b="1" dirty="0"/>
                  <a:t>…</a:t>
                </a:r>
                <a:r>
                  <a:rPr lang="zh-CN" altLang="en-US" sz="1600" b="1" dirty="0"/>
                  <a:t>经验</a:t>
                </a:r>
              </a:p>
            </p:txBody>
          </p:sp>
          <p:sp>
            <p:nvSpPr>
              <p:cNvPr id="31" name="文本框 30"/>
              <p:cNvSpPr txBox="1"/>
              <p:nvPr/>
            </p:nvSpPr>
            <p:spPr>
              <a:xfrm>
                <a:off x="7523675" y="1986738"/>
                <a:ext cx="3798000" cy="609636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anchor="ctr" anchorCtr="0">
                <a:normAutofit fontScale="92500"/>
              </a:bodyPr>
              <a:lstStyle/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200" dirty="0"/>
                  <a:t>Supporting text here.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200" dirty="0"/>
                  <a:t>When you copy &amp; paste, choose "keep text only" option.</a:t>
                </a:r>
              </a:p>
            </p:txBody>
          </p:sp>
        </p:grpSp>
        <p:grpSp>
          <p:nvGrpSpPr>
            <p:cNvPr id="8" name="组合 7"/>
            <p:cNvGrpSpPr/>
            <p:nvPr/>
          </p:nvGrpSpPr>
          <p:grpSpPr>
            <a:xfrm>
              <a:off x="6800703" y="5043631"/>
              <a:ext cx="3798000" cy="932802"/>
              <a:chOff x="6795003" y="5210824"/>
              <a:chExt cx="3798000" cy="932802"/>
            </a:xfrm>
          </p:grpSpPr>
          <p:sp>
            <p:nvSpPr>
              <p:cNvPr id="28" name="文本框 27"/>
              <p:cNvSpPr txBox="1"/>
              <p:nvPr/>
            </p:nvSpPr>
            <p:spPr>
              <a:xfrm>
                <a:off x="6795003" y="5210824"/>
                <a:ext cx="3798000" cy="323165"/>
              </a:xfrm>
              <a:prstGeom prst="rect">
                <a:avLst/>
              </a:prstGeom>
              <a:noFill/>
            </p:spPr>
            <p:txBody>
              <a:bodyPr wrap="none">
                <a:normAutofit lnSpcReduction="10000"/>
              </a:bodyPr>
              <a:lstStyle/>
              <a:p>
                <a:r>
                  <a:rPr lang="en-US" altLang="zh-CN" sz="1600" b="1" dirty="0"/>
                  <a:t>…</a:t>
                </a:r>
                <a:r>
                  <a:rPr lang="zh-CN" altLang="en-US" sz="1600" b="1" dirty="0"/>
                  <a:t>经验</a:t>
                </a:r>
              </a:p>
            </p:txBody>
          </p:sp>
          <p:sp>
            <p:nvSpPr>
              <p:cNvPr id="29" name="文本框 28"/>
              <p:cNvSpPr txBox="1"/>
              <p:nvPr/>
            </p:nvSpPr>
            <p:spPr>
              <a:xfrm>
                <a:off x="6795004" y="5533990"/>
                <a:ext cx="3797648" cy="609636"/>
              </a:xfrm>
              <a:prstGeom prst="rect">
                <a:avLst/>
              </a:prstGeom>
              <a:noFill/>
            </p:spPr>
            <p:txBody>
              <a:bodyPr wrap="square" lIns="90000" tIns="46800" rIns="90000" bIns="46800" anchor="ctr" anchorCtr="0">
                <a:normAutofit fontScale="92500"/>
              </a:bodyPr>
              <a:lstStyle/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200" dirty="0"/>
                  <a:t>Supporting text here.</a:t>
                </a:r>
              </a:p>
              <a:p>
                <a:pPr marL="171450" indent="-1714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200" dirty="0"/>
                  <a:t>When you copy &amp; paste, choose "keep text only" option.</a:t>
                </a:r>
              </a:p>
            </p:txBody>
          </p:sp>
        </p:grpSp>
        <p:grpSp>
          <p:nvGrpSpPr>
            <p:cNvPr id="9" name="组合 8"/>
            <p:cNvGrpSpPr/>
            <p:nvPr/>
          </p:nvGrpSpPr>
          <p:grpSpPr>
            <a:xfrm>
              <a:off x="5465023" y="2099009"/>
              <a:ext cx="2432204" cy="2432204"/>
              <a:chOff x="14382607" y="3858443"/>
              <a:chExt cx="4864408" cy="4864408"/>
            </a:xfrm>
          </p:grpSpPr>
          <p:sp>
            <p:nvSpPr>
              <p:cNvPr id="26" name="椭圆 25"/>
              <p:cNvSpPr/>
              <p:nvPr/>
            </p:nvSpPr>
            <p:spPr>
              <a:xfrm>
                <a:off x="14791898" y="4248047"/>
                <a:ext cx="4144194" cy="4144194"/>
              </a:xfrm>
              <a:prstGeom prst="ellipse">
                <a:avLst/>
              </a:prstGeom>
              <a:solidFill>
                <a:schemeClr val="accent2">
                  <a:alpha val="80000"/>
                </a:schemeClr>
              </a:solidFill>
              <a:ln>
                <a:noFill/>
              </a:ln>
              <a:effectLst>
                <a:outerShdw blurRad="38100" dist="38100" algn="ctr" rotWithShape="0">
                  <a:srgbClr val="000000">
                    <a:alpha val="23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椭圆 26"/>
              <p:cNvSpPr/>
              <p:nvPr/>
            </p:nvSpPr>
            <p:spPr>
              <a:xfrm>
                <a:off x="14382607" y="3858443"/>
                <a:ext cx="4864408" cy="4864408"/>
              </a:xfrm>
              <a:prstGeom prst="ellipse">
                <a:avLst/>
              </a:prstGeom>
              <a:noFill/>
              <a:ln>
                <a:solidFill>
                  <a:schemeClr val="accent1">
                    <a:alpha val="50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5174069" y="3486405"/>
              <a:ext cx="1475152" cy="1475152"/>
              <a:chOff x="13800701" y="6633228"/>
              <a:chExt cx="2950304" cy="2950304"/>
            </a:xfrm>
          </p:grpSpPr>
          <p:sp>
            <p:nvSpPr>
              <p:cNvPr id="24" name="椭圆 23"/>
              <p:cNvSpPr/>
              <p:nvPr/>
            </p:nvSpPr>
            <p:spPr>
              <a:xfrm>
                <a:off x="14047153" y="6850109"/>
                <a:ext cx="2513488" cy="2513488"/>
              </a:xfrm>
              <a:prstGeom prst="ellipse">
                <a:avLst/>
              </a:prstGeom>
              <a:solidFill>
                <a:schemeClr val="accent3">
                  <a:alpha val="80000"/>
                </a:schemeClr>
              </a:solidFill>
              <a:ln>
                <a:noFill/>
              </a:ln>
              <a:effectLst>
                <a:outerShdw blurRad="38100" dist="38100" algn="ctr" rotWithShape="0">
                  <a:srgbClr val="000000">
                    <a:alpha val="23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椭圆 24"/>
              <p:cNvSpPr/>
              <p:nvPr/>
            </p:nvSpPr>
            <p:spPr>
              <a:xfrm>
                <a:off x="13800701" y="6633228"/>
                <a:ext cx="2950304" cy="2950304"/>
              </a:xfrm>
              <a:prstGeom prst="ellipse">
                <a:avLst/>
              </a:prstGeom>
              <a:noFill/>
              <a:ln>
                <a:solidFill>
                  <a:schemeClr val="accent1">
                    <a:alpha val="50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4294775" y="2514922"/>
              <a:ext cx="2045469" cy="2045469"/>
              <a:chOff x="12042112" y="4690267"/>
              <a:chExt cx="4090937" cy="4090937"/>
            </a:xfrm>
          </p:grpSpPr>
          <p:sp>
            <p:nvSpPr>
              <p:cNvPr id="22" name="椭圆 21"/>
              <p:cNvSpPr/>
              <p:nvPr/>
            </p:nvSpPr>
            <p:spPr>
              <a:xfrm>
                <a:off x="12384220" y="4995355"/>
                <a:ext cx="3485242" cy="3485242"/>
              </a:xfrm>
              <a:prstGeom prst="ellipse">
                <a:avLst/>
              </a:prstGeom>
              <a:solidFill>
                <a:schemeClr val="accent1">
                  <a:alpha val="80000"/>
                </a:schemeClr>
              </a:solidFill>
              <a:ln>
                <a:noFill/>
              </a:ln>
              <a:effectLst>
                <a:outerShdw blurRad="38100" dist="38100" algn="ctr" rotWithShape="0">
                  <a:srgbClr val="000000">
                    <a:alpha val="23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椭圆 22"/>
              <p:cNvSpPr/>
              <p:nvPr/>
            </p:nvSpPr>
            <p:spPr>
              <a:xfrm>
                <a:off x="12042112" y="4690267"/>
                <a:ext cx="4090937" cy="4090937"/>
              </a:xfrm>
              <a:prstGeom prst="ellipse">
                <a:avLst/>
              </a:prstGeom>
              <a:noFill/>
              <a:ln>
                <a:solidFill>
                  <a:schemeClr val="accent1">
                    <a:alpha val="50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</p:grpSp>
        <p:cxnSp>
          <p:nvCxnSpPr>
            <p:cNvPr id="12" name="直接连接符 11"/>
            <p:cNvCxnSpPr/>
            <p:nvPr/>
          </p:nvCxnSpPr>
          <p:spPr>
            <a:xfrm flipH="1">
              <a:off x="6795135" y="1973438"/>
              <a:ext cx="583563" cy="1171813"/>
            </a:xfrm>
            <a:prstGeom prst="line">
              <a:avLst/>
            </a:prstGeom>
            <a:ln w="12700" cap="flat" cmpd="sng" algn="ctr">
              <a:solidFill>
                <a:schemeClr val="accent2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椭圆 12"/>
            <p:cNvSpPr/>
            <p:nvPr/>
          </p:nvSpPr>
          <p:spPr>
            <a:xfrm>
              <a:off x="7330730" y="1950109"/>
              <a:ext cx="95935" cy="95935"/>
            </a:xfrm>
            <a:prstGeom prst="ellipse">
              <a:avLst/>
            </a:prstGeom>
            <a:solidFill>
              <a:schemeClr val="accent2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cxnSp>
          <p:nvCxnSpPr>
            <p:cNvPr id="14" name="直接连接符 13"/>
            <p:cNvCxnSpPr/>
            <p:nvPr/>
          </p:nvCxnSpPr>
          <p:spPr>
            <a:xfrm>
              <a:off x="4467052" y="2380938"/>
              <a:ext cx="738213" cy="964285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椭圆 14"/>
            <p:cNvSpPr/>
            <p:nvPr/>
          </p:nvSpPr>
          <p:spPr>
            <a:xfrm>
              <a:off x="4411122" y="2311822"/>
              <a:ext cx="95935" cy="9593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cxnSp>
          <p:nvCxnSpPr>
            <p:cNvPr id="16" name="直接连接符 15"/>
            <p:cNvCxnSpPr/>
            <p:nvPr/>
          </p:nvCxnSpPr>
          <p:spPr>
            <a:xfrm>
              <a:off x="6003230" y="4390000"/>
              <a:ext cx="738213" cy="964285"/>
            </a:xfrm>
            <a:prstGeom prst="line">
              <a:avLst/>
            </a:prstGeom>
            <a:ln w="12700" cap="flat" cmpd="sng" algn="ctr">
              <a:solidFill>
                <a:schemeClr val="accent3">
                  <a:lumMod val="100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椭圆 16"/>
            <p:cNvSpPr/>
            <p:nvPr/>
          </p:nvSpPr>
          <p:spPr>
            <a:xfrm>
              <a:off x="6699068" y="5306320"/>
              <a:ext cx="95935" cy="95935"/>
            </a:xfrm>
            <a:prstGeom prst="ellipse">
              <a:avLst/>
            </a:prstGeom>
            <a:solidFill>
              <a:schemeClr val="accent3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椭圆 17"/>
            <p:cNvSpPr/>
            <p:nvPr/>
          </p:nvSpPr>
          <p:spPr>
            <a:xfrm>
              <a:off x="6382299" y="2971534"/>
              <a:ext cx="689794" cy="6897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normAutofit/>
            </a:bodyPr>
            <a:lstStyle/>
            <a:p>
              <a:pPr algn="ctr"/>
              <a:r>
                <a:rPr lang="de-DE" sz="2000" dirty="0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86</a:t>
              </a:r>
              <a:r>
                <a:rPr lang="de-DE" altLang="zh-CN" sz="2000" dirty="0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%</a:t>
              </a:r>
              <a:endParaRPr lang="de-DE" sz="2000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9" name="椭圆 18"/>
            <p:cNvSpPr/>
            <p:nvPr/>
          </p:nvSpPr>
          <p:spPr>
            <a:xfrm>
              <a:off x="4955556" y="3147490"/>
              <a:ext cx="689794" cy="6897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normAutofit/>
            </a:bodyPr>
            <a:lstStyle/>
            <a:p>
              <a:pPr algn="ctr"/>
              <a:r>
                <a:rPr lang="de-DE" sz="2000" dirty="0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64%</a:t>
              </a:r>
            </a:p>
          </p:txBody>
        </p:sp>
        <p:sp>
          <p:nvSpPr>
            <p:cNvPr id="20" name="椭圆 19"/>
            <p:cNvSpPr/>
            <p:nvPr/>
          </p:nvSpPr>
          <p:spPr>
            <a:xfrm>
              <a:off x="5589679" y="3933229"/>
              <a:ext cx="689794" cy="68979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normAutofit/>
            </a:bodyPr>
            <a:lstStyle/>
            <a:p>
              <a:pPr algn="ctr"/>
              <a:r>
                <a:rPr lang="de-DE" sz="2000" dirty="0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49</a:t>
              </a:r>
              <a:r>
                <a:rPr lang="de-DE" altLang="zh-CN" sz="2000" dirty="0">
                  <a:solidFill>
                    <a:schemeClr val="accent1">
                      <a:lumMod val="100000"/>
                    </a:schemeClr>
                  </a:solidFill>
                  <a:latin typeface="Impact" panose="020B0806030902050204" pitchFamily="34" charset="0"/>
                </a:rPr>
                <a:t>%</a:t>
              </a:r>
              <a:endParaRPr lang="de-DE" sz="2000" dirty="0">
                <a:solidFill>
                  <a:schemeClr val="accent1">
                    <a:lumMod val="100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791BB12B-58F7-4D5C-9471-E4DF81654F7A}"/>
                </a:ext>
              </a:extLst>
            </p:cNvPr>
            <p:cNvSpPr txBox="1"/>
            <p:nvPr/>
          </p:nvSpPr>
          <p:spPr>
            <a:xfrm>
              <a:off x="691562" y="4644000"/>
              <a:ext cx="5314438" cy="1468059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normAutofit fontScale="92500"/>
            </a:bodyPr>
            <a:lstStyle/>
            <a:p>
              <a:pPr algn="just">
                <a:lnSpc>
                  <a:spcPct val="150000"/>
                </a:lnSpc>
              </a:pPr>
              <a:r>
                <a:rPr lang="en-US" altLang="zh-CN" sz="1400" dirty="0"/>
                <a:t>Unified fonts make reading more fluent.</a:t>
              </a:r>
            </a:p>
            <a:p>
              <a:pPr algn="just">
                <a:lnSpc>
                  <a:spcPct val="150000"/>
                </a:lnSpc>
              </a:pPr>
              <a:r>
                <a:rPr lang="en-US" altLang="zh-CN" sz="1700" b="1" dirty="0"/>
                <a:t>Theme color makes PPT more convenient to change.</a:t>
              </a:r>
            </a:p>
            <a:p>
              <a:pPr algn="just">
                <a:lnSpc>
                  <a:spcPct val="150000"/>
                </a:lnSpc>
              </a:pPr>
              <a:r>
                <a:rPr lang="en-US" altLang="zh-CN" sz="1400" dirty="0"/>
                <a:t>Adjust the spacing to adapt to Chinese typesetting, use the reference line in PPT.</a:t>
              </a:r>
              <a:endParaRPr lang="en-US" altLang="zh-CN" sz="1600" b="1" dirty="0"/>
            </a:p>
            <a:p>
              <a:pPr algn="just">
                <a:lnSpc>
                  <a:spcPct val="150000"/>
                </a:lnSpc>
              </a:pPr>
              <a:endParaRPr lang="en-US" sz="16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31834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工作计划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zh-CN" altLang="en-US" dirty="0"/>
              <a:t>提高效率   工作方向</a:t>
            </a:r>
            <a:endParaRPr lang="en-US" altLang="zh-CN" dirty="0"/>
          </a:p>
          <a:p>
            <a:pPr>
              <a:defRPr/>
            </a:pPr>
            <a:r>
              <a:rPr lang="zh-CN" altLang="en-US" dirty="0"/>
              <a:t>工作计划   工作目标</a:t>
            </a:r>
            <a:endParaRPr lang="en-US" altLang="zh-CN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766951" y="330180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173982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667D662-0840-40A0-85E0-CCCA4199F4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提高效率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4441C87-AA38-43E4-AB89-98352AFA23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A986B0D-A3B0-4A42-A63C-4377ADC34E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E7E4BAC6-B083-4F36-923A-5DB79D65F347}"/>
              </a:ext>
            </a:extLst>
          </p:cNvPr>
          <p:cNvGrpSpPr>
            <a:grpSpLocks noChangeAspect="1"/>
          </p:cNvGrpSpPr>
          <p:nvPr/>
        </p:nvGrpSpPr>
        <p:grpSpPr>
          <a:xfrm>
            <a:off x="1781292" y="1558323"/>
            <a:ext cx="8616716" cy="4147753"/>
            <a:chOff x="1781292" y="1558323"/>
            <a:chExt cx="8616716" cy="4147753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8CE3E99E-70A9-44D0-AC5C-4B23A8F10FE2}"/>
                </a:ext>
              </a:extLst>
            </p:cNvPr>
            <p:cNvGrpSpPr/>
            <p:nvPr/>
          </p:nvGrpSpPr>
          <p:grpSpPr>
            <a:xfrm>
              <a:off x="2225112" y="3039432"/>
              <a:ext cx="8172896" cy="1214925"/>
              <a:chOff x="2003203" y="3325698"/>
              <a:chExt cx="8172896" cy="1214925"/>
            </a:xfrm>
          </p:grpSpPr>
          <p:sp>
            <p:nvSpPr>
              <p:cNvPr id="19" name="任意多边形: 形状 18">
                <a:extLst>
                  <a:ext uri="{FF2B5EF4-FFF2-40B4-BE49-F238E27FC236}">
                    <a16:creationId xmlns:a16="http://schemas.microsoft.com/office/drawing/2014/main" id="{EC82F1CB-A79A-432A-A2C4-E5A29EB4D26D}"/>
                  </a:ext>
                </a:extLst>
              </p:cNvPr>
              <p:cNvSpPr/>
              <p:nvPr/>
            </p:nvSpPr>
            <p:spPr>
              <a:xfrm>
                <a:off x="2003203" y="3505200"/>
                <a:ext cx="2509285" cy="1035423"/>
              </a:xfrm>
              <a:custGeom>
                <a:avLst/>
                <a:gdLst>
                  <a:gd name="connsiteX0" fmla="*/ 0 w 2509285"/>
                  <a:gd name="connsiteY0" fmla="*/ 427960 h 1035423"/>
                  <a:gd name="connsiteX1" fmla="*/ 0 w 2509285"/>
                  <a:gd name="connsiteY1" fmla="*/ 427961 h 1035423"/>
                  <a:gd name="connsiteX2" fmla="*/ 0 w 2509285"/>
                  <a:gd name="connsiteY2" fmla="*/ 427961 h 1035423"/>
                  <a:gd name="connsiteX3" fmla="*/ 427961 w 2509285"/>
                  <a:gd name="connsiteY3" fmla="*/ 0 h 1035423"/>
                  <a:gd name="connsiteX4" fmla="*/ 2081324 w 2509285"/>
                  <a:gd name="connsiteY4" fmla="*/ 0 h 1035423"/>
                  <a:gd name="connsiteX5" fmla="*/ 2509285 w 2509285"/>
                  <a:gd name="connsiteY5" fmla="*/ 427961 h 1035423"/>
                  <a:gd name="connsiteX6" fmla="*/ 2509284 w 2509285"/>
                  <a:gd name="connsiteY6" fmla="*/ 427961 h 1035423"/>
                  <a:gd name="connsiteX7" fmla="*/ 2081323 w 2509285"/>
                  <a:gd name="connsiteY7" fmla="*/ 855922 h 1035423"/>
                  <a:gd name="connsiteX8" fmla="*/ 990028 w 2509285"/>
                  <a:gd name="connsiteY8" fmla="*/ 855922 h 1035423"/>
                  <a:gd name="connsiteX9" fmla="*/ 950267 w 2509285"/>
                  <a:gd name="connsiteY9" fmla="*/ 923486 h 1035423"/>
                  <a:gd name="connsiteX10" fmla="*/ 832810 w 2509285"/>
                  <a:gd name="connsiteY10" fmla="*/ 1035423 h 1035423"/>
                  <a:gd name="connsiteX11" fmla="*/ 709377 w 2509285"/>
                  <a:gd name="connsiteY11" fmla="*/ 919750 h 1035423"/>
                  <a:gd name="connsiteX12" fmla="*/ 675592 w 2509285"/>
                  <a:gd name="connsiteY12" fmla="*/ 855921 h 1035423"/>
                  <a:gd name="connsiteX13" fmla="*/ 427961 w 2509285"/>
                  <a:gd name="connsiteY13" fmla="*/ 855921 h 1035423"/>
                  <a:gd name="connsiteX14" fmla="*/ 8695 w 2509285"/>
                  <a:gd name="connsiteY14" fmla="*/ 514209 h 1035423"/>
                  <a:gd name="connsiteX15" fmla="*/ 0 w 2509285"/>
                  <a:gd name="connsiteY15" fmla="*/ 427961 h 1035423"/>
                  <a:gd name="connsiteX16" fmla="*/ 8695 w 2509285"/>
                  <a:gd name="connsiteY16" fmla="*/ 341712 h 1035423"/>
                  <a:gd name="connsiteX17" fmla="*/ 427961 w 2509285"/>
                  <a:gd name="connsiteY17" fmla="*/ 0 h 1035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509285" h="1035423">
                    <a:moveTo>
                      <a:pt x="0" y="427960"/>
                    </a:moveTo>
                    <a:lnTo>
                      <a:pt x="0" y="427961"/>
                    </a:lnTo>
                    <a:lnTo>
                      <a:pt x="0" y="427961"/>
                    </a:lnTo>
                    <a:close/>
                    <a:moveTo>
                      <a:pt x="427961" y="0"/>
                    </a:moveTo>
                    <a:lnTo>
                      <a:pt x="2081324" y="0"/>
                    </a:lnTo>
                    <a:cubicBezTo>
                      <a:pt x="2317680" y="0"/>
                      <a:pt x="2509285" y="191605"/>
                      <a:pt x="2509285" y="427961"/>
                    </a:cubicBezTo>
                    <a:lnTo>
                      <a:pt x="2509284" y="427961"/>
                    </a:lnTo>
                    <a:cubicBezTo>
                      <a:pt x="2509284" y="664317"/>
                      <a:pt x="2317679" y="855922"/>
                      <a:pt x="2081323" y="855922"/>
                    </a:cubicBezTo>
                    <a:lnTo>
                      <a:pt x="990028" y="855922"/>
                    </a:lnTo>
                    <a:lnTo>
                      <a:pt x="950267" y="923486"/>
                    </a:lnTo>
                    <a:cubicBezTo>
                      <a:pt x="910810" y="987143"/>
                      <a:pt x="872114" y="1035423"/>
                      <a:pt x="832810" y="1035423"/>
                    </a:cubicBezTo>
                    <a:cubicBezTo>
                      <a:pt x="793506" y="1035423"/>
                      <a:pt x="746842" y="982163"/>
                      <a:pt x="709377" y="919750"/>
                    </a:cubicBezTo>
                    <a:lnTo>
                      <a:pt x="675592" y="855921"/>
                    </a:lnTo>
                    <a:lnTo>
                      <a:pt x="427961" y="855921"/>
                    </a:lnTo>
                    <a:cubicBezTo>
                      <a:pt x="221150" y="855921"/>
                      <a:pt x="48601" y="709224"/>
                      <a:pt x="8695" y="514209"/>
                    </a:cubicBezTo>
                    <a:lnTo>
                      <a:pt x="0" y="427961"/>
                    </a:lnTo>
                    <a:lnTo>
                      <a:pt x="8695" y="341712"/>
                    </a:lnTo>
                    <a:cubicBezTo>
                      <a:pt x="48601" y="146698"/>
                      <a:pt x="221150" y="0"/>
                      <a:pt x="42796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 cap="rnd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 defTabSz="913765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0" name="任意多边形: 形状 19">
                <a:extLst>
                  <a:ext uri="{FF2B5EF4-FFF2-40B4-BE49-F238E27FC236}">
                    <a16:creationId xmlns:a16="http://schemas.microsoft.com/office/drawing/2014/main" id="{DCCE599C-F647-42C6-BA78-E9F4E747241E}"/>
                  </a:ext>
                </a:extLst>
              </p:cNvPr>
              <p:cNvSpPr/>
              <p:nvPr/>
            </p:nvSpPr>
            <p:spPr>
              <a:xfrm rot="10800000" flipV="1">
                <a:off x="3891074" y="3325698"/>
                <a:ext cx="2509285" cy="1035424"/>
              </a:xfrm>
              <a:custGeom>
                <a:avLst/>
                <a:gdLst>
                  <a:gd name="connsiteX0" fmla="*/ 2509285 w 2509285"/>
                  <a:gd name="connsiteY0" fmla="*/ 607462 h 1035424"/>
                  <a:gd name="connsiteX1" fmla="*/ 2509285 w 2509285"/>
                  <a:gd name="connsiteY1" fmla="*/ 607463 h 1035424"/>
                  <a:gd name="connsiteX2" fmla="*/ 2509285 w 2509285"/>
                  <a:gd name="connsiteY2" fmla="*/ 607463 h 1035424"/>
                  <a:gd name="connsiteX3" fmla="*/ 1627698 w 2509285"/>
                  <a:gd name="connsiteY3" fmla="*/ 0 h 1035424"/>
                  <a:gd name="connsiteX4" fmla="*/ 1470480 w 2509285"/>
                  <a:gd name="connsiteY4" fmla="*/ 179502 h 1035424"/>
                  <a:gd name="connsiteX5" fmla="*/ 427961 w 2509285"/>
                  <a:gd name="connsiteY5" fmla="*/ 179502 h 1035424"/>
                  <a:gd name="connsiteX6" fmla="*/ 0 w 2509285"/>
                  <a:gd name="connsiteY6" fmla="*/ 607463 h 1035424"/>
                  <a:gd name="connsiteX7" fmla="*/ 1 w 2509285"/>
                  <a:gd name="connsiteY7" fmla="*/ 607463 h 1035424"/>
                  <a:gd name="connsiteX8" fmla="*/ 427962 w 2509285"/>
                  <a:gd name="connsiteY8" fmla="*/ 1035424 h 1035424"/>
                  <a:gd name="connsiteX9" fmla="*/ 2081324 w 2509285"/>
                  <a:gd name="connsiteY9" fmla="*/ 1035423 h 1035424"/>
                  <a:gd name="connsiteX10" fmla="*/ 2500590 w 2509285"/>
                  <a:gd name="connsiteY10" fmla="*/ 693711 h 1035424"/>
                  <a:gd name="connsiteX11" fmla="*/ 2509285 w 2509285"/>
                  <a:gd name="connsiteY11" fmla="*/ 607463 h 1035424"/>
                  <a:gd name="connsiteX12" fmla="*/ 2500590 w 2509285"/>
                  <a:gd name="connsiteY12" fmla="*/ 521214 h 1035424"/>
                  <a:gd name="connsiteX13" fmla="*/ 2081324 w 2509285"/>
                  <a:gd name="connsiteY13" fmla="*/ 179502 h 1035424"/>
                  <a:gd name="connsiteX14" fmla="*/ 1784916 w 2509285"/>
                  <a:gd name="connsiteY14" fmla="*/ 179502 h 1035424"/>
                  <a:gd name="connsiteX15" fmla="*/ 1627698 w 2509285"/>
                  <a:gd name="connsiteY15" fmla="*/ 0 h 1035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509285" h="1035424">
                    <a:moveTo>
                      <a:pt x="2509285" y="607462"/>
                    </a:moveTo>
                    <a:lnTo>
                      <a:pt x="2509285" y="607463"/>
                    </a:lnTo>
                    <a:lnTo>
                      <a:pt x="2509285" y="607463"/>
                    </a:lnTo>
                    <a:close/>
                    <a:moveTo>
                      <a:pt x="1627698" y="0"/>
                    </a:moveTo>
                    <a:cubicBezTo>
                      <a:pt x="1575292" y="0"/>
                      <a:pt x="1523970" y="85831"/>
                      <a:pt x="1470480" y="179502"/>
                    </a:cubicBezTo>
                    <a:lnTo>
                      <a:pt x="427961" y="179502"/>
                    </a:lnTo>
                    <a:cubicBezTo>
                      <a:pt x="191605" y="179502"/>
                      <a:pt x="0" y="371107"/>
                      <a:pt x="0" y="607463"/>
                    </a:cubicBezTo>
                    <a:lnTo>
                      <a:pt x="1" y="607463"/>
                    </a:lnTo>
                    <a:cubicBezTo>
                      <a:pt x="1" y="843819"/>
                      <a:pt x="191606" y="1035424"/>
                      <a:pt x="427962" y="1035424"/>
                    </a:cubicBezTo>
                    <a:lnTo>
                      <a:pt x="2081324" y="1035423"/>
                    </a:lnTo>
                    <a:cubicBezTo>
                      <a:pt x="2288136" y="1035423"/>
                      <a:pt x="2460685" y="888726"/>
                      <a:pt x="2500590" y="693711"/>
                    </a:cubicBezTo>
                    <a:lnTo>
                      <a:pt x="2509285" y="607463"/>
                    </a:lnTo>
                    <a:lnTo>
                      <a:pt x="2500590" y="521214"/>
                    </a:lnTo>
                    <a:cubicBezTo>
                      <a:pt x="2460685" y="326200"/>
                      <a:pt x="2288136" y="179502"/>
                      <a:pt x="2081324" y="179502"/>
                    </a:cubicBezTo>
                    <a:lnTo>
                      <a:pt x="1784916" y="179502"/>
                    </a:lnTo>
                    <a:cubicBezTo>
                      <a:pt x="1745593" y="94686"/>
                      <a:pt x="1680104" y="0"/>
                      <a:pt x="1627698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8100" cap="rnd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 defTabSz="913765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E674696E-D2C9-43A0-8084-8A31DE66C0F4}"/>
                  </a:ext>
                </a:extLst>
              </p:cNvPr>
              <p:cNvSpPr/>
              <p:nvPr/>
            </p:nvSpPr>
            <p:spPr>
              <a:xfrm>
                <a:off x="5778943" y="3505200"/>
                <a:ext cx="2509285" cy="1035423"/>
              </a:xfrm>
              <a:custGeom>
                <a:avLst/>
                <a:gdLst>
                  <a:gd name="connsiteX0" fmla="*/ 0 w 2509285"/>
                  <a:gd name="connsiteY0" fmla="*/ 427960 h 1035423"/>
                  <a:gd name="connsiteX1" fmla="*/ 0 w 2509285"/>
                  <a:gd name="connsiteY1" fmla="*/ 427961 h 1035423"/>
                  <a:gd name="connsiteX2" fmla="*/ 0 w 2509285"/>
                  <a:gd name="connsiteY2" fmla="*/ 427961 h 1035423"/>
                  <a:gd name="connsiteX3" fmla="*/ 427961 w 2509285"/>
                  <a:gd name="connsiteY3" fmla="*/ 0 h 1035423"/>
                  <a:gd name="connsiteX4" fmla="*/ 2081324 w 2509285"/>
                  <a:gd name="connsiteY4" fmla="*/ 0 h 1035423"/>
                  <a:gd name="connsiteX5" fmla="*/ 2509285 w 2509285"/>
                  <a:gd name="connsiteY5" fmla="*/ 427961 h 1035423"/>
                  <a:gd name="connsiteX6" fmla="*/ 2509284 w 2509285"/>
                  <a:gd name="connsiteY6" fmla="*/ 427961 h 1035423"/>
                  <a:gd name="connsiteX7" fmla="*/ 2081323 w 2509285"/>
                  <a:gd name="connsiteY7" fmla="*/ 855922 h 1035423"/>
                  <a:gd name="connsiteX8" fmla="*/ 1087582 w 2509285"/>
                  <a:gd name="connsiteY8" fmla="*/ 855922 h 1035423"/>
                  <a:gd name="connsiteX9" fmla="*/ 1047821 w 2509285"/>
                  <a:gd name="connsiteY9" fmla="*/ 923486 h 1035423"/>
                  <a:gd name="connsiteX10" fmla="*/ 930364 w 2509285"/>
                  <a:gd name="connsiteY10" fmla="*/ 1035423 h 1035423"/>
                  <a:gd name="connsiteX11" fmla="*/ 806931 w 2509285"/>
                  <a:gd name="connsiteY11" fmla="*/ 919750 h 1035423"/>
                  <a:gd name="connsiteX12" fmla="*/ 773146 w 2509285"/>
                  <a:gd name="connsiteY12" fmla="*/ 855921 h 1035423"/>
                  <a:gd name="connsiteX13" fmla="*/ 427961 w 2509285"/>
                  <a:gd name="connsiteY13" fmla="*/ 855921 h 1035423"/>
                  <a:gd name="connsiteX14" fmla="*/ 8695 w 2509285"/>
                  <a:gd name="connsiteY14" fmla="*/ 514209 h 1035423"/>
                  <a:gd name="connsiteX15" fmla="*/ 0 w 2509285"/>
                  <a:gd name="connsiteY15" fmla="*/ 427961 h 1035423"/>
                  <a:gd name="connsiteX16" fmla="*/ 8695 w 2509285"/>
                  <a:gd name="connsiteY16" fmla="*/ 341712 h 1035423"/>
                  <a:gd name="connsiteX17" fmla="*/ 427961 w 2509285"/>
                  <a:gd name="connsiteY17" fmla="*/ 0 h 1035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509285" h="1035423">
                    <a:moveTo>
                      <a:pt x="0" y="427960"/>
                    </a:moveTo>
                    <a:lnTo>
                      <a:pt x="0" y="427961"/>
                    </a:lnTo>
                    <a:lnTo>
                      <a:pt x="0" y="427961"/>
                    </a:lnTo>
                    <a:close/>
                    <a:moveTo>
                      <a:pt x="427961" y="0"/>
                    </a:moveTo>
                    <a:lnTo>
                      <a:pt x="2081324" y="0"/>
                    </a:lnTo>
                    <a:cubicBezTo>
                      <a:pt x="2317680" y="0"/>
                      <a:pt x="2509285" y="191605"/>
                      <a:pt x="2509285" y="427961"/>
                    </a:cubicBezTo>
                    <a:lnTo>
                      <a:pt x="2509284" y="427961"/>
                    </a:lnTo>
                    <a:cubicBezTo>
                      <a:pt x="2509284" y="664317"/>
                      <a:pt x="2317679" y="855922"/>
                      <a:pt x="2081323" y="855922"/>
                    </a:cubicBezTo>
                    <a:lnTo>
                      <a:pt x="1087582" y="855922"/>
                    </a:lnTo>
                    <a:lnTo>
                      <a:pt x="1047821" y="923486"/>
                    </a:lnTo>
                    <a:cubicBezTo>
                      <a:pt x="1008364" y="987143"/>
                      <a:pt x="969669" y="1035423"/>
                      <a:pt x="930364" y="1035423"/>
                    </a:cubicBezTo>
                    <a:cubicBezTo>
                      <a:pt x="891060" y="1035423"/>
                      <a:pt x="844396" y="982163"/>
                      <a:pt x="806931" y="919750"/>
                    </a:cubicBezTo>
                    <a:lnTo>
                      <a:pt x="773146" y="855921"/>
                    </a:lnTo>
                    <a:lnTo>
                      <a:pt x="427961" y="855921"/>
                    </a:lnTo>
                    <a:cubicBezTo>
                      <a:pt x="221150" y="855921"/>
                      <a:pt x="48601" y="709224"/>
                      <a:pt x="8695" y="514209"/>
                    </a:cubicBezTo>
                    <a:lnTo>
                      <a:pt x="0" y="427961"/>
                    </a:lnTo>
                    <a:lnTo>
                      <a:pt x="8695" y="341712"/>
                    </a:lnTo>
                    <a:cubicBezTo>
                      <a:pt x="48601" y="146698"/>
                      <a:pt x="221150" y="0"/>
                      <a:pt x="42796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8100" cap="rnd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 defTabSz="913765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8D5A37C3-2689-4B94-AB7D-67AF81A9CFD2}"/>
                  </a:ext>
                </a:extLst>
              </p:cNvPr>
              <p:cNvSpPr/>
              <p:nvPr/>
            </p:nvSpPr>
            <p:spPr>
              <a:xfrm rot="10800000" flipV="1">
                <a:off x="7666814" y="3325698"/>
                <a:ext cx="2509285" cy="1035424"/>
              </a:xfrm>
              <a:custGeom>
                <a:avLst/>
                <a:gdLst>
                  <a:gd name="connsiteX0" fmla="*/ 2509285 w 2509285"/>
                  <a:gd name="connsiteY0" fmla="*/ 607462 h 1035424"/>
                  <a:gd name="connsiteX1" fmla="*/ 2509285 w 2509285"/>
                  <a:gd name="connsiteY1" fmla="*/ 607463 h 1035424"/>
                  <a:gd name="connsiteX2" fmla="*/ 2509285 w 2509285"/>
                  <a:gd name="connsiteY2" fmla="*/ 607463 h 1035424"/>
                  <a:gd name="connsiteX3" fmla="*/ 1530145 w 2509285"/>
                  <a:gd name="connsiteY3" fmla="*/ 0 h 1035424"/>
                  <a:gd name="connsiteX4" fmla="*/ 1372927 w 2509285"/>
                  <a:gd name="connsiteY4" fmla="*/ 179502 h 1035424"/>
                  <a:gd name="connsiteX5" fmla="*/ 427961 w 2509285"/>
                  <a:gd name="connsiteY5" fmla="*/ 179502 h 1035424"/>
                  <a:gd name="connsiteX6" fmla="*/ 0 w 2509285"/>
                  <a:gd name="connsiteY6" fmla="*/ 607463 h 1035424"/>
                  <a:gd name="connsiteX7" fmla="*/ 1 w 2509285"/>
                  <a:gd name="connsiteY7" fmla="*/ 607463 h 1035424"/>
                  <a:gd name="connsiteX8" fmla="*/ 427962 w 2509285"/>
                  <a:gd name="connsiteY8" fmla="*/ 1035424 h 1035424"/>
                  <a:gd name="connsiteX9" fmla="*/ 2081324 w 2509285"/>
                  <a:gd name="connsiteY9" fmla="*/ 1035423 h 1035424"/>
                  <a:gd name="connsiteX10" fmla="*/ 2500591 w 2509285"/>
                  <a:gd name="connsiteY10" fmla="*/ 693711 h 1035424"/>
                  <a:gd name="connsiteX11" fmla="*/ 2509285 w 2509285"/>
                  <a:gd name="connsiteY11" fmla="*/ 607463 h 1035424"/>
                  <a:gd name="connsiteX12" fmla="*/ 2500591 w 2509285"/>
                  <a:gd name="connsiteY12" fmla="*/ 521214 h 1035424"/>
                  <a:gd name="connsiteX13" fmla="*/ 2081324 w 2509285"/>
                  <a:gd name="connsiteY13" fmla="*/ 179502 h 1035424"/>
                  <a:gd name="connsiteX14" fmla="*/ 1687363 w 2509285"/>
                  <a:gd name="connsiteY14" fmla="*/ 179502 h 1035424"/>
                  <a:gd name="connsiteX15" fmla="*/ 1530145 w 2509285"/>
                  <a:gd name="connsiteY15" fmla="*/ 0 h 10354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509285" h="1035424">
                    <a:moveTo>
                      <a:pt x="2509285" y="607462"/>
                    </a:moveTo>
                    <a:lnTo>
                      <a:pt x="2509285" y="607463"/>
                    </a:lnTo>
                    <a:lnTo>
                      <a:pt x="2509285" y="607463"/>
                    </a:lnTo>
                    <a:close/>
                    <a:moveTo>
                      <a:pt x="1530145" y="0"/>
                    </a:moveTo>
                    <a:cubicBezTo>
                      <a:pt x="1477739" y="0"/>
                      <a:pt x="1426416" y="85831"/>
                      <a:pt x="1372927" y="179502"/>
                    </a:cubicBezTo>
                    <a:lnTo>
                      <a:pt x="427961" y="179502"/>
                    </a:lnTo>
                    <a:cubicBezTo>
                      <a:pt x="191605" y="179502"/>
                      <a:pt x="0" y="371107"/>
                      <a:pt x="0" y="607463"/>
                    </a:cubicBezTo>
                    <a:lnTo>
                      <a:pt x="1" y="607463"/>
                    </a:lnTo>
                    <a:cubicBezTo>
                      <a:pt x="1" y="843819"/>
                      <a:pt x="191606" y="1035424"/>
                      <a:pt x="427962" y="1035424"/>
                    </a:cubicBezTo>
                    <a:lnTo>
                      <a:pt x="2081324" y="1035423"/>
                    </a:lnTo>
                    <a:cubicBezTo>
                      <a:pt x="2288136" y="1035423"/>
                      <a:pt x="2460685" y="888726"/>
                      <a:pt x="2500591" y="693711"/>
                    </a:cubicBezTo>
                    <a:lnTo>
                      <a:pt x="2509285" y="607463"/>
                    </a:lnTo>
                    <a:lnTo>
                      <a:pt x="2500591" y="521214"/>
                    </a:lnTo>
                    <a:cubicBezTo>
                      <a:pt x="2460685" y="326200"/>
                      <a:pt x="2288136" y="179502"/>
                      <a:pt x="2081324" y="179502"/>
                    </a:cubicBezTo>
                    <a:lnTo>
                      <a:pt x="1687363" y="179502"/>
                    </a:lnTo>
                    <a:cubicBezTo>
                      <a:pt x="1648040" y="94686"/>
                      <a:pt x="1582551" y="0"/>
                      <a:pt x="1530145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8100" cap="rnd">
                <a:solidFill>
                  <a:schemeClr val="bg1"/>
                </a:solidFill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 defTabSz="913765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ECE8A374-88B7-4C0C-B5A9-E49C99ED1667}"/>
                  </a:ext>
                </a:extLst>
              </p:cNvPr>
              <p:cNvSpPr/>
              <p:nvPr/>
            </p:nvSpPr>
            <p:spPr>
              <a:xfrm>
                <a:off x="2645705" y="3710511"/>
                <a:ext cx="431388" cy="431238"/>
              </a:xfrm>
              <a:custGeom>
                <a:avLst/>
                <a:gdLst>
                  <a:gd name="connsiteX0" fmla="*/ 478610 w 605522"/>
                  <a:gd name="connsiteY0" fmla="*/ 64285 h 605310"/>
                  <a:gd name="connsiteX1" fmla="*/ 531640 w 605522"/>
                  <a:gd name="connsiteY1" fmla="*/ 117209 h 605310"/>
                  <a:gd name="connsiteX2" fmla="*/ 478610 w 605522"/>
                  <a:gd name="connsiteY2" fmla="*/ 170133 h 605310"/>
                  <a:gd name="connsiteX3" fmla="*/ 425580 w 605522"/>
                  <a:gd name="connsiteY3" fmla="*/ 117209 h 605310"/>
                  <a:gd name="connsiteX4" fmla="*/ 478610 w 605522"/>
                  <a:gd name="connsiteY4" fmla="*/ 64285 h 605310"/>
                  <a:gd name="connsiteX5" fmla="*/ 244491 w 605522"/>
                  <a:gd name="connsiteY5" fmla="*/ 6351 h 605310"/>
                  <a:gd name="connsiteX6" fmla="*/ 236634 w 605522"/>
                  <a:gd name="connsiteY6" fmla="*/ 37354 h 605310"/>
                  <a:gd name="connsiteX7" fmla="*/ 236634 w 605522"/>
                  <a:gd name="connsiteY7" fmla="*/ 85167 h 605310"/>
                  <a:gd name="connsiteX8" fmla="*/ 74825 w 605522"/>
                  <a:gd name="connsiteY8" fmla="*/ 302936 h 605310"/>
                  <a:gd name="connsiteX9" fmla="*/ 302667 w 605522"/>
                  <a:gd name="connsiteY9" fmla="*/ 530604 h 605310"/>
                  <a:gd name="connsiteX10" fmla="*/ 530697 w 605522"/>
                  <a:gd name="connsiteY10" fmla="*/ 302936 h 605310"/>
                  <a:gd name="connsiteX11" fmla="*/ 568109 w 605522"/>
                  <a:gd name="connsiteY11" fmla="*/ 265583 h 605310"/>
                  <a:gd name="connsiteX12" fmla="*/ 605522 w 605522"/>
                  <a:gd name="connsiteY12" fmla="*/ 302936 h 605310"/>
                  <a:gd name="connsiteX13" fmla="*/ 302667 w 605522"/>
                  <a:gd name="connsiteY13" fmla="*/ 605310 h 605310"/>
                  <a:gd name="connsiteX14" fmla="*/ 0 w 605522"/>
                  <a:gd name="connsiteY14" fmla="*/ 302936 h 605310"/>
                  <a:gd name="connsiteX15" fmla="*/ 244491 w 605522"/>
                  <a:gd name="connsiteY15" fmla="*/ 6351 h 605310"/>
                  <a:gd name="connsiteX16" fmla="*/ 302667 w 605522"/>
                  <a:gd name="connsiteY16" fmla="*/ 0 h 605310"/>
                  <a:gd name="connsiteX17" fmla="*/ 340070 w 605522"/>
                  <a:gd name="connsiteY17" fmla="*/ 37356 h 605310"/>
                  <a:gd name="connsiteX18" fmla="*/ 340070 w 605522"/>
                  <a:gd name="connsiteY18" fmla="*/ 248234 h 605310"/>
                  <a:gd name="connsiteX19" fmla="*/ 369057 w 605522"/>
                  <a:gd name="connsiteY19" fmla="*/ 302961 h 605310"/>
                  <a:gd name="connsiteX20" fmla="*/ 302667 w 605522"/>
                  <a:gd name="connsiteY20" fmla="*/ 369269 h 605310"/>
                  <a:gd name="connsiteX21" fmla="*/ 236465 w 605522"/>
                  <a:gd name="connsiteY21" fmla="*/ 302961 h 605310"/>
                  <a:gd name="connsiteX22" fmla="*/ 265265 w 605522"/>
                  <a:gd name="connsiteY22" fmla="*/ 248234 h 605310"/>
                  <a:gd name="connsiteX23" fmla="*/ 265265 w 605522"/>
                  <a:gd name="connsiteY23" fmla="*/ 37356 h 605310"/>
                  <a:gd name="connsiteX24" fmla="*/ 302667 w 605522"/>
                  <a:gd name="connsiteY24" fmla="*/ 0 h 60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605522" h="605310">
                    <a:moveTo>
                      <a:pt x="478610" y="64285"/>
                    </a:moveTo>
                    <a:cubicBezTo>
                      <a:pt x="507898" y="64285"/>
                      <a:pt x="531640" y="87980"/>
                      <a:pt x="531640" y="117209"/>
                    </a:cubicBezTo>
                    <a:cubicBezTo>
                      <a:pt x="531640" y="146438"/>
                      <a:pt x="507898" y="170133"/>
                      <a:pt x="478610" y="170133"/>
                    </a:cubicBezTo>
                    <a:cubicBezTo>
                      <a:pt x="449322" y="170133"/>
                      <a:pt x="425580" y="146438"/>
                      <a:pt x="425580" y="117209"/>
                    </a:cubicBezTo>
                    <a:cubicBezTo>
                      <a:pt x="425580" y="87980"/>
                      <a:pt x="449322" y="64285"/>
                      <a:pt x="478610" y="64285"/>
                    </a:cubicBezTo>
                    <a:close/>
                    <a:moveTo>
                      <a:pt x="244491" y="6351"/>
                    </a:moveTo>
                    <a:cubicBezTo>
                      <a:pt x="239440" y="15502"/>
                      <a:pt x="236634" y="26148"/>
                      <a:pt x="236634" y="37354"/>
                    </a:cubicBezTo>
                    <a:lnTo>
                      <a:pt x="236634" y="85167"/>
                    </a:lnTo>
                    <a:cubicBezTo>
                      <a:pt x="143103" y="113555"/>
                      <a:pt x="74825" y="200401"/>
                      <a:pt x="74825" y="302936"/>
                    </a:cubicBezTo>
                    <a:cubicBezTo>
                      <a:pt x="74825" y="428443"/>
                      <a:pt x="176961" y="530604"/>
                      <a:pt x="302667" y="530604"/>
                    </a:cubicBezTo>
                    <a:cubicBezTo>
                      <a:pt x="428374" y="530604"/>
                      <a:pt x="530697" y="428443"/>
                      <a:pt x="530697" y="302936"/>
                    </a:cubicBezTo>
                    <a:cubicBezTo>
                      <a:pt x="530697" y="282392"/>
                      <a:pt x="547533" y="265583"/>
                      <a:pt x="568109" y="265583"/>
                    </a:cubicBezTo>
                    <a:cubicBezTo>
                      <a:pt x="588686" y="265583"/>
                      <a:pt x="605522" y="282392"/>
                      <a:pt x="605522" y="302936"/>
                    </a:cubicBezTo>
                    <a:cubicBezTo>
                      <a:pt x="605522" y="469718"/>
                      <a:pt x="469714" y="605310"/>
                      <a:pt x="302667" y="605310"/>
                    </a:cubicBezTo>
                    <a:cubicBezTo>
                      <a:pt x="135808" y="605310"/>
                      <a:pt x="0" y="469718"/>
                      <a:pt x="0" y="302936"/>
                    </a:cubicBezTo>
                    <a:cubicBezTo>
                      <a:pt x="0" y="156138"/>
                      <a:pt x="105316" y="33619"/>
                      <a:pt x="244491" y="6351"/>
                    </a:cubicBezTo>
                    <a:close/>
                    <a:moveTo>
                      <a:pt x="302667" y="0"/>
                    </a:moveTo>
                    <a:cubicBezTo>
                      <a:pt x="323426" y="0"/>
                      <a:pt x="340070" y="16810"/>
                      <a:pt x="340070" y="37356"/>
                    </a:cubicBezTo>
                    <a:lnTo>
                      <a:pt x="340070" y="248234"/>
                    </a:lnTo>
                    <a:cubicBezTo>
                      <a:pt x="358397" y="260749"/>
                      <a:pt x="369057" y="281295"/>
                      <a:pt x="369057" y="302961"/>
                    </a:cubicBezTo>
                    <a:cubicBezTo>
                      <a:pt x="369057" y="339571"/>
                      <a:pt x="339322" y="369269"/>
                      <a:pt x="302667" y="369269"/>
                    </a:cubicBezTo>
                    <a:cubicBezTo>
                      <a:pt x="266013" y="369269"/>
                      <a:pt x="236465" y="339571"/>
                      <a:pt x="236465" y="302961"/>
                    </a:cubicBezTo>
                    <a:cubicBezTo>
                      <a:pt x="236465" y="280548"/>
                      <a:pt x="247686" y="260375"/>
                      <a:pt x="265265" y="248234"/>
                    </a:cubicBezTo>
                    <a:lnTo>
                      <a:pt x="265265" y="37356"/>
                    </a:lnTo>
                    <a:cubicBezTo>
                      <a:pt x="265265" y="16810"/>
                      <a:pt x="282096" y="0"/>
                      <a:pt x="30266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3765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7B75EE5E-6FAF-44E8-A04A-BE1799347D7C}"/>
                  </a:ext>
                </a:extLst>
              </p:cNvPr>
              <p:cNvSpPr/>
              <p:nvPr/>
            </p:nvSpPr>
            <p:spPr>
              <a:xfrm>
                <a:off x="4584122" y="3710511"/>
                <a:ext cx="431388" cy="431238"/>
              </a:xfrm>
              <a:custGeom>
                <a:avLst/>
                <a:gdLst>
                  <a:gd name="connsiteX0" fmla="*/ 478610 w 605522"/>
                  <a:gd name="connsiteY0" fmla="*/ 64285 h 605310"/>
                  <a:gd name="connsiteX1" fmla="*/ 531640 w 605522"/>
                  <a:gd name="connsiteY1" fmla="*/ 117209 h 605310"/>
                  <a:gd name="connsiteX2" fmla="*/ 478610 w 605522"/>
                  <a:gd name="connsiteY2" fmla="*/ 170133 h 605310"/>
                  <a:gd name="connsiteX3" fmla="*/ 425580 w 605522"/>
                  <a:gd name="connsiteY3" fmla="*/ 117209 h 605310"/>
                  <a:gd name="connsiteX4" fmla="*/ 478610 w 605522"/>
                  <a:gd name="connsiteY4" fmla="*/ 64285 h 605310"/>
                  <a:gd name="connsiteX5" fmla="*/ 244491 w 605522"/>
                  <a:gd name="connsiteY5" fmla="*/ 6351 h 605310"/>
                  <a:gd name="connsiteX6" fmla="*/ 236634 w 605522"/>
                  <a:gd name="connsiteY6" fmla="*/ 37354 h 605310"/>
                  <a:gd name="connsiteX7" fmla="*/ 236634 w 605522"/>
                  <a:gd name="connsiteY7" fmla="*/ 85167 h 605310"/>
                  <a:gd name="connsiteX8" fmla="*/ 74825 w 605522"/>
                  <a:gd name="connsiteY8" fmla="*/ 302936 h 605310"/>
                  <a:gd name="connsiteX9" fmla="*/ 302667 w 605522"/>
                  <a:gd name="connsiteY9" fmla="*/ 530604 h 605310"/>
                  <a:gd name="connsiteX10" fmla="*/ 530697 w 605522"/>
                  <a:gd name="connsiteY10" fmla="*/ 302936 h 605310"/>
                  <a:gd name="connsiteX11" fmla="*/ 568109 w 605522"/>
                  <a:gd name="connsiteY11" fmla="*/ 265583 h 605310"/>
                  <a:gd name="connsiteX12" fmla="*/ 605522 w 605522"/>
                  <a:gd name="connsiteY12" fmla="*/ 302936 h 605310"/>
                  <a:gd name="connsiteX13" fmla="*/ 302667 w 605522"/>
                  <a:gd name="connsiteY13" fmla="*/ 605310 h 605310"/>
                  <a:gd name="connsiteX14" fmla="*/ 0 w 605522"/>
                  <a:gd name="connsiteY14" fmla="*/ 302936 h 605310"/>
                  <a:gd name="connsiteX15" fmla="*/ 244491 w 605522"/>
                  <a:gd name="connsiteY15" fmla="*/ 6351 h 605310"/>
                  <a:gd name="connsiteX16" fmla="*/ 302667 w 605522"/>
                  <a:gd name="connsiteY16" fmla="*/ 0 h 605310"/>
                  <a:gd name="connsiteX17" fmla="*/ 340070 w 605522"/>
                  <a:gd name="connsiteY17" fmla="*/ 37356 h 605310"/>
                  <a:gd name="connsiteX18" fmla="*/ 340070 w 605522"/>
                  <a:gd name="connsiteY18" fmla="*/ 248234 h 605310"/>
                  <a:gd name="connsiteX19" fmla="*/ 369057 w 605522"/>
                  <a:gd name="connsiteY19" fmla="*/ 302961 h 605310"/>
                  <a:gd name="connsiteX20" fmla="*/ 302667 w 605522"/>
                  <a:gd name="connsiteY20" fmla="*/ 369269 h 605310"/>
                  <a:gd name="connsiteX21" fmla="*/ 236465 w 605522"/>
                  <a:gd name="connsiteY21" fmla="*/ 302961 h 605310"/>
                  <a:gd name="connsiteX22" fmla="*/ 265265 w 605522"/>
                  <a:gd name="connsiteY22" fmla="*/ 248234 h 605310"/>
                  <a:gd name="connsiteX23" fmla="*/ 265265 w 605522"/>
                  <a:gd name="connsiteY23" fmla="*/ 37356 h 605310"/>
                  <a:gd name="connsiteX24" fmla="*/ 302667 w 605522"/>
                  <a:gd name="connsiteY24" fmla="*/ 0 h 60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605522" h="605310">
                    <a:moveTo>
                      <a:pt x="478610" y="64285"/>
                    </a:moveTo>
                    <a:cubicBezTo>
                      <a:pt x="507898" y="64285"/>
                      <a:pt x="531640" y="87980"/>
                      <a:pt x="531640" y="117209"/>
                    </a:cubicBezTo>
                    <a:cubicBezTo>
                      <a:pt x="531640" y="146438"/>
                      <a:pt x="507898" y="170133"/>
                      <a:pt x="478610" y="170133"/>
                    </a:cubicBezTo>
                    <a:cubicBezTo>
                      <a:pt x="449322" y="170133"/>
                      <a:pt x="425580" y="146438"/>
                      <a:pt x="425580" y="117209"/>
                    </a:cubicBezTo>
                    <a:cubicBezTo>
                      <a:pt x="425580" y="87980"/>
                      <a:pt x="449322" y="64285"/>
                      <a:pt x="478610" y="64285"/>
                    </a:cubicBezTo>
                    <a:close/>
                    <a:moveTo>
                      <a:pt x="244491" y="6351"/>
                    </a:moveTo>
                    <a:cubicBezTo>
                      <a:pt x="239440" y="15502"/>
                      <a:pt x="236634" y="26148"/>
                      <a:pt x="236634" y="37354"/>
                    </a:cubicBezTo>
                    <a:lnTo>
                      <a:pt x="236634" y="85167"/>
                    </a:lnTo>
                    <a:cubicBezTo>
                      <a:pt x="143103" y="113555"/>
                      <a:pt x="74825" y="200401"/>
                      <a:pt x="74825" y="302936"/>
                    </a:cubicBezTo>
                    <a:cubicBezTo>
                      <a:pt x="74825" y="428443"/>
                      <a:pt x="176961" y="530604"/>
                      <a:pt x="302667" y="530604"/>
                    </a:cubicBezTo>
                    <a:cubicBezTo>
                      <a:pt x="428374" y="530604"/>
                      <a:pt x="530697" y="428443"/>
                      <a:pt x="530697" y="302936"/>
                    </a:cubicBezTo>
                    <a:cubicBezTo>
                      <a:pt x="530697" y="282392"/>
                      <a:pt x="547533" y="265583"/>
                      <a:pt x="568109" y="265583"/>
                    </a:cubicBezTo>
                    <a:cubicBezTo>
                      <a:pt x="588686" y="265583"/>
                      <a:pt x="605522" y="282392"/>
                      <a:pt x="605522" y="302936"/>
                    </a:cubicBezTo>
                    <a:cubicBezTo>
                      <a:pt x="605522" y="469718"/>
                      <a:pt x="469714" y="605310"/>
                      <a:pt x="302667" y="605310"/>
                    </a:cubicBezTo>
                    <a:cubicBezTo>
                      <a:pt x="135808" y="605310"/>
                      <a:pt x="0" y="469718"/>
                      <a:pt x="0" y="302936"/>
                    </a:cubicBezTo>
                    <a:cubicBezTo>
                      <a:pt x="0" y="156138"/>
                      <a:pt x="105316" y="33619"/>
                      <a:pt x="244491" y="6351"/>
                    </a:cubicBezTo>
                    <a:close/>
                    <a:moveTo>
                      <a:pt x="302667" y="0"/>
                    </a:moveTo>
                    <a:cubicBezTo>
                      <a:pt x="323426" y="0"/>
                      <a:pt x="340070" y="16810"/>
                      <a:pt x="340070" y="37356"/>
                    </a:cubicBezTo>
                    <a:lnTo>
                      <a:pt x="340070" y="248234"/>
                    </a:lnTo>
                    <a:cubicBezTo>
                      <a:pt x="358397" y="260749"/>
                      <a:pt x="369057" y="281295"/>
                      <a:pt x="369057" y="302961"/>
                    </a:cubicBezTo>
                    <a:cubicBezTo>
                      <a:pt x="369057" y="339571"/>
                      <a:pt x="339322" y="369269"/>
                      <a:pt x="302667" y="369269"/>
                    </a:cubicBezTo>
                    <a:cubicBezTo>
                      <a:pt x="266013" y="369269"/>
                      <a:pt x="236465" y="339571"/>
                      <a:pt x="236465" y="302961"/>
                    </a:cubicBezTo>
                    <a:cubicBezTo>
                      <a:pt x="236465" y="280548"/>
                      <a:pt x="247686" y="260375"/>
                      <a:pt x="265265" y="248234"/>
                    </a:cubicBezTo>
                    <a:lnTo>
                      <a:pt x="265265" y="37356"/>
                    </a:lnTo>
                    <a:cubicBezTo>
                      <a:pt x="265265" y="16810"/>
                      <a:pt x="282096" y="0"/>
                      <a:pt x="30266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3765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A8B27E32-A3B6-4514-849C-219840DA9E02}"/>
                  </a:ext>
                </a:extLst>
              </p:cNvPr>
              <p:cNvSpPr/>
              <p:nvPr/>
            </p:nvSpPr>
            <p:spPr>
              <a:xfrm>
                <a:off x="6522539" y="3710511"/>
                <a:ext cx="431388" cy="431238"/>
              </a:xfrm>
              <a:custGeom>
                <a:avLst/>
                <a:gdLst>
                  <a:gd name="connsiteX0" fmla="*/ 478610 w 605522"/>
                  <a:gd name="connsiteY0" fmla="*/ 64285 h 605310"/>
                  <a:gd name="connsiteX1" fmla="*/ 531640 w 605522"/>
                  <a:gd name="connsiteY1" fmla="*/ 117209 h 605310"/>
                  <a:gd name="connsiteX2" fmla="*/ 478610 w 605522"/>
                  <a:gd name="connsiteY2" fmla="*/ 170133 h 605310"/>
                  <a:gd name="connsiteX3" fmla="*/ 425580 w 605522"/>
                  <a:gd name="connsiteY3" fmla="*/ 117209 h 605310"/>
                  <a:gd name="connsiteX4" fmla="*/ 478610 w 605522"/>
                  <a:gd name="connsiteY4" fmla="*/ 64285 h 605310"/>
                  <a:gd name="connsiteX5" fmla="*/ 244491 w 605522"/>
                  <a:gd name="connsiteY5" fmla="*/ 6351 h 605310"/>
                  <a:gd name="connsiteX6" fmla="*/ 236634 w 605522"/>
                  <a:gd name="connsiteY6" fmla="*/ 37354 h 605310"/>
                  <a:gd name="connsiteX7" fmla="*/ 236634 w 605522"/>
                  <a:gd name="connsiteY7" fmla="*/ 85167 h 605310"/>
                  <a:gd name="connsiteX8" fmla="*/ 74825 w 605522"/>
                  <a:gd name="connsiteY8" fmla="*/ 302936 h 605310"/>
                  <a:gd name="connsiteX9" fmla="*/ 302667 w 605522"/>
                  <a:gd name="connsiteY9" fmla="*/ 530604 h 605310"/>
                  <a:gd name="connsiteX10" fmla="*/ 530697 w 605522"/>
                  <a:gd name="connsiteY10" fmla="*/ 302936 h 605310"/>
                  <a:gd name="connsiteX11" fmla="*/ 568109 w 605522"/>
                  <a:gd name="connsiteY11" fmla="*/ 265583 h 605310"/>
                  <a:gd name="connsiteX12" fmla="*/ 605522 w 605522"/>
                  <a:gd name="connsiteY12" fmla="*/ 302936 h 605310"/>
                  <a:gd name="connsiteX13" fmla="*/ 302667 w 605522"/>
                  <a:gd name="connsiteY13" fmla="*/ 605310 h 605310"/>
                  <a:gd name="connsiteX14" fmla="*/ 0 w 605522"/>
                  <a:gd name="connsiteY14" fmla="*/ 302936 h 605310"/>
                  <a:gd name="connsiteX15" fmla="*/ 244491 w 605522"/>
                  <a:gd name="connsiteY15" fmla="*/ 6351 h 605310"/>
                  <a:gd name="connsiteX16" fmla="*/ 302667 w 605522"/>
                  <a:gd name="connsiteY16" fmla="*/ 0 h 605310"/>
                  <a:gd name="connsiteX17" fmla="*/ 340070 w 605522"/>
                  <a:gd name="connsiteY17" fmla="*/ 37356 h 605310"/>
                  <a:gd name="connsiteX18" fmla="*/ 340070 w 605522"/>
                  <a:gd name="connsiteY18" fmla="*/ 248234 h 605310"/>
                  <a:gd name="connsiteX19" fmla="*/ 369057 w 605522"/>
                  <a:gd name="connsiteY19" fmla="*/ 302961 h 605310"/>
                  <a:gd name="connsiteX20" fmla="*/ 302667 w 605522"/>
                  <a:gd name="connsiteY20" fmla="*/ 369269 h 605310"/>
                  <a:gd name="connsiteX21" fmla="*/ 236465 w 605522"/>
                  <a:gd name="connsiteY21" fmla="*/ 302961 h 605310"/>
                  <a:gd name="connsiteX22" fmla="*/ 265265 w 605522"/>
                  <a:gd name="connsiteY22" fmla="*/ 248234 h 605310"/>
                  <a:gd name="connsiteX23" fmla="*/ 265265 w 605522"/>
                  <a:gd name="connsiteY23" fmla="*/ 37356 h 605310"/>
                  <a:gd name="connsiteX24" fmla="*/ 302667 w 605522"/>
                  <a:gd name="connsiteY24" fmla="*/ 0 h 60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605522" h="605310">
                    <a:moveTo>
                      <a:pt x="478610" y="64285"/>
                    </a:moveTo>
                    <a:cubicBezTo>
                      <a:pt x="507898" y="64285"/>
                      <a:pt x="531640" y="87980"/>
                      <a:pt x="531640" y="117209"/>
                    </a:cubicBezTo>
                    <a:cubicBezTo>
                      <a:pt x="531640" y="146438"/>
                      <a:pt x="507898" y="170133"/>
                      <a:pt x="478610" y="170133"/>
                    </a:cubicBezTo>
                    <a:cubicBezTo>
                      <a:pt x="449322" y="170133"/>
                      <a:pt x="425580" y="146438"/>
                      <a:pt x="425580" y="117209"/>
                    </a:cubicBezTo>
                    <a:cubicBezTo>
                      <a:pt x="425580" y="87980"/>
                      <a:pt x="449322" y="64285"/>
                      <a:pt x="478610" y="64285"/>
                    </a:cubicBezTo>
                    <a:close/>
                    <a:moveTo>
                      <a:pt x="244491" y="6351"/>
                    </a:moveTo>
                    <a:cubicBezTo>
                      <a:pt x="239440" y="15502"/>
                      <a:pt x="236634" y="26148"/>
                      <a:pt x="236634" y="37354"/>
                    </a:cubicBezTo>
                    <a:lnTo>
                      <a:pt x="236634" y="85167"/>
                    </a:lnTo>
                    <a:cubicBezTo>
                      <a:pt x="143103" y="113555"/>
                      <a:pt x="74825" y="200401"/>
                      <a:pt x="74825" y="302936"/>
                    </a:cubicBezTo>
                    <a:cubicBezTo>
                      <a:pt x="74825" y="428443"/>
                      <a:pt x="176961" y="530604"/>
                      <a:pt x="302667" y="530604"/>
                    </a:cubicBezTo>
                    <a:cubicBezTo>
                      <a:pt x="428374" y="530604"/>
                      <a:pt x="530697" y="428443"/>
                      <a:pt x="530697" y="302936"/>
                    </a:cubicBezTo>
                    <a:cubicBezTo>
                      <a:pt x="530697" y="282392"/>
                      <a:pt x="547533" y="265583"/>
                      <a:pt x="568109" y="265583"/>
                    </a:cubicBezTo>
                    <a:cubicBezTo>
                      <a:pt x="588686" y="265583"/>
                      <a:pt x="605522" y="282392"/>
                      <a:pt x="605522" y="302936"/>
                    </a:cubicBezTo>
                    <a:cubicBezTo>
                      <a:pt x="605522" y="469718"/>
                      <a:pt x="469714" y="605310"/>
                      <a:pt x="302667" y="605310"/>
                    </a:cubicBezTo>
                    <a:cubicBezTo>
                      <a:pt x="135808" y="605310"/>
                      <a:pt x="0" y="469718"/>
                      <a:pt x="0" y="302936"/>
                    </a:cubicBezTo>
                    <a:cubicBezTo>
                      <a:pt x="0" y="156138"/>
                      <a:pt x="105316" y="33619"/>
                      <a:pt x="244491" y="6351"/>
                    </a:cubicBezTo>
                    <a:close/>
                    <a:moveTo>
                      <a:pt x="302667" y="0"/>
                    </a:moveTo>
                    <a:cubicBezTo>
                      <a:pt x="323426" y="0"/>
                      <a:pt x="340070" y="16810"/>
                      <a:pt x="340070" y="37356"/>
                    </a:cubicBezTo>
                    <a:lnTo>
                      <a:pt x="340070" y="248234"/>
                    </a:lnTo>
                    <a:cubicBezTo>
                      <a:pt x="358397" y="260749"/>
                      <a:pt x="369057" y="281295"/>
                      <a:pt x="369057" y="302961"/>
                    </a:cubicBezTo>
                    <a:cubicBezTo>
                      <a:pt x="369057" y="339571"/>
                      <a:pt x="339322" y="369269"/>
                      <a:pt x="302667" y="369269"/>
                    </a:cubicBezTo>
                    <a:cubicBezTo>
                      <a:pt x="266013" y="369269"/>
                      <a:pt x="236465" y="339571"/>
                      <a:pt x="236465" y="302961"/>
                    </a:cubicBezTo>
                    <a:cubicBezTo>
                      <a:pt x="236465" y="280548"/>
                      <a:pt x="247686" y="260375"/>
                      <a:pt x="265265" y="248234"/>
                    </a:cubicBezTo>
                    <a:lnTo>
                      <a:pt x="265265" y="37356"/>
                    </a:lnTo>
                    <a:cubicBezTo>
                      <a:pt x="265265" y="16810"/>
                      <a:pt x="282096" y="0"/>
                      <a:pt x="30266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3765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任意多边形: 形状 25">
                <a:extLst>
                  <a:ext uri="{FF2B5EF4-FFF2-40B4-BE49-F238E27FC236}">
                    <a16:creationId xmlns:a16="http://schemas.microsoft.com/office/drawing/2014/main" id="{7EA3BC04-7230-4BA4-A6D3-EF7DE5B1740C}"/>
                  </a:ext>
                </a:extLst>
              </p:cNvPr>
              <p:cNvSpPr/>
              <p:nvPr/>
            </p:nvSpPr>
            <p:spPr>
              <a:xfrm>
                <a:off x="8460956" y="3710511"/>
                <a:ext cx="431388" cy="431238"/>
              </a:xfrm>
              <a:custGeom>
                <a:avLst/>
                <a:gdLst>
                  <a:gd name="connsiteX0" fmla="*/ 478610 w 605522"/>
                  <a:gd name="connsiteY0" fmla="*/ 64285 h 605310"/>
                  <a:gd name="connsiteX1" fmla="*/ 531640 w 605522"/>
                  <a:gd name="connsiteY1" fmla="*/ 117209 h 605310"/>
                  <a:gd name="connsiteX2" fmla="*/ 478610 w 605522"/>
                  <a:gd name="connsiteY2" fmla="*/ 170133 h 605310"/>
                  <a:gd name="connsiteX3" fmla="*/ 425580 w 605522"/>
                  <a:gd name="connsiteY3" fmla="*/ 117209 h 605310"/>
                  <a:gd name="connsiteX4" fmla="*/ 478610 w 605522"/>
                  <a:gd name="connsiteY4" fmla="*/ 64285 h 605310"/>
                  <a:gd name="connsiteX5" fmla="*/ 244491 w 605522"/>
                  <a:gd name="connsiteY5" fmla="*/ 6351 h 605310"/>
                  <a:gd name="connsiteX6" fmla="*/ 236634 w 605522"/>
                  <a:gd name="connsiteY6" fmla="*/ 37354 h 605310"/>
                  <a:gd name="connsiteX7" fmla="*/ 236634 w 605522"/>
                  <a:gd name="connsiteY7" fmla="*/ 85167 h 605310"/>
                  <a:gd name="connsiteX8" fmla="*/ 74825 w 605522"/>
                  <a:gd name="connsiteY8" fmla="*/ 302936 h 605310"/>
                  <a:gd name="connsiteX9" fmla="*/ 302667 w 605522"/>
                  <a:gd name="connsiteY9" fmla="*/ 530604 h 605310"/>
                  <a:gd name="connsiteX10" fmla="*/ 530697 w 605522"/>
                  <a:gd name="connsiteY10" fmla="*/ 302936 h 605310"/>
                  <a:gd name="connsiteX11" fmla="*/ 568109 w 605522"/>
                  <a:gd name="connsiteY11" fmla="*/ 265583 h 605310"/>
                  <a:gd name="connsiteX12" fmla="*/ 605522 w 605522"/>
                  <a:gd name="connsiteY12" fmla="*/ 302936 h 605310"/>
                  <a:gd name="connsiteX13" fmla="*/ 302667 w 605522"/>
                  <a:gd name="connsiteY13" fmla="*/ 605310 h 605310"/>
                  <a:gd name="connsiteX14" fmla="*/ 0 w 605522"/>
                  <a:gd name="connsiteY14" fmla="*/ 302936 h 605310"/>
                  <a:gd name="connsiteX15" fmla="*/ 244491 w 605522"/>
                  <a:gd name="connsiteY15" fmla="*/ 6351 h 605310"/>
                  <a:gd name="connsiteX16" fmla="*/ 302667 w 605522"/>
                  <a:gd name="connsiteY16" fmla="*/ 0 h 605310"/>
                  <a:gd name="connsiteX17" fmla="*/ 340070 w 605522"/>
                  <a:gd name="connsiteY17" fmla="*/ 37356 h 605310"/>
                  <a:gd name="connsiteX18" fmla="*/ 340070 w 605522"/>
                  <a:gd name="connsiteY18" fmla="*/ 248234 h 605310"/>
                  <a:gd name="connsiteX19" fmla="*/ 369057 w 605522"/>
                  <a:gd name="connsiteY19" fmla="*/ 302961 h 605310"/>
                  <a:gd name="connsiteX20" fmla="*/ 302667 w 605522"/>
                  <a:gd name="connsiteY20" fmla="*/ 369269 h 605310"/>
                  <a:gd name="connsiteX21" fmla="*/ 236465 w 605522"/>
                  <a:gd name="connsiteY21" fmla="*/ 302961 h 605310"/>
                  <a:gd name="connsiteX22" fmla="*/ 265265 w 605522"/>
                  <a:gd name="connsiteY22" fmla="*/ 248234 h 605310"/>
                  <a:gd name="connsiteX23" fmla="*/ 265265 w 605522"/>
                  <a:gd name="connsiteY23" fmla="*/ 37356 h 605310"/>
                  <a:gd name="connsiteX24" fmla="*/ 302667 w 605522"/>
                  <a:gd name="connsiteY24" fmla="*/ 0 h 60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605522" h="605310">
                    <a:moveTo>
                      <a:pt x="478610" y="64285"/>
                    </a:moveTo>
                    <a:cubicBezTo>
                      <a:pt x="507898" y="64285"/>
                      <a:pt x="531640" y="87980"/>
                      <a:pt x="531640" y="117209"/>
                    </a:cubicBezTo>
                    <a:cubicBezTo>
                      <a:pt x="531640" y="146438"/>
                      <a:pt x="507898" y="170133"/>
                      <a:pt x="478610" y="170133"/>
                    </a:cubicBezTo>
                    <a:cubicBezTo>
                      <a:pt x="449322" y="170133"/>
                      <a:pt x="425580" y="146438"/>
                      <a:pt x="425580" y="117209"/>
                    </a:cubicBezTo>
                    <a:cubicBezTo>
                      <a:pt x="425580" y="87980"/>
                      <a:pt x="449322" y="64285"/>
                      <a:pt x="478610" y="64285"/>
                    </a:cubicBezTo>
                    <a:close/>
                    <a:moveTo>
                      <a:pt x="244491" y="6351"/>
                    </a:moveTo>
                    <a:cubicBezTo>
                      <a:pt x="239440" y="15502"/>
                      <a:pt x="236634" y="26148"/>
                      <a:pt x="236634" y="37354"/>
                    </a:cubicBezTo>
                    <a:lnTo>
                      <a:pt x="236634" y="85167"/>
                    </a:lnTo>
                    <a:cubicBezTo>
                      <a:pt x="143103" y="113555"/>
                      <a:pt x="74825" y="200401"/>
                      <a:pt x="74825" y="302936"/>
                    </a:cubicBezTo>
                    <a:cubicBezTo>
                      <a:pt x="74825" y="428443"/>
                      <a:pt x="176961" y="530604"/>
                      <a:pt x="302667" y="530604"/>
                    </a:cubicBezTo>
                    <a:cubicBezTo>
                      <a:pt x="428374" y="530604"/>
                      <a:pt x="530697" y="428443"/>
                      <a:pt x="530697" y="302936"/>
                    </a:cubicBezTo>
                    <a:cubicBezTo>
                      <a:pt x="530697" y="282392"/>
                      <a:pt x="547533" y="265583"/>
                      <a:pt x="568109" y="265583"/>
                    </a:cubicBezTo>
                    <a:cubicBezTo>
                      <a:pt x="588686" y="265583"/>
                      <a:pt x="605522" y="282392"/>
                      <a:pt x="605522" y="302936"/>
                    </a:cubicBezTo>
                    <a:cubicBezTo>
                      <a:pt x="605522" y="469718"/>
                      <a:pt x="469714" y="605310"/>
                      <a:pt x="302667" y="605310"/>
                    </a:cubicBezTo>
                    <a:cubicBezTo>
                      <a:pt x="135808" y="605310"/>
                      <a:pt x="0" y="469718"/>
                      <a:pt x="0" y="302936"/>
                    </a:cubicBezTo>
                    <a:cubicBezTo>
                      <a:pt x="0" y="156138"/>
                      <a:pt x="105316" y="33619"/>
                      <a:pt x="244491" y="6351"/>
                    </a:cubicBezTo>
                    <a:close/>
                    <a:moveTo>
                      <a:pt x="302667" y="0"/>
                    </a:moveTo>
                    <a:cubicBezTo>
                      <a:pt x="323426" y="0"/>
                      <a:pt x="340070" y="16810"/>
                      <a:pt x="340070" y="37356"/>
                    </a:cubicBezTo>
                    <a:lnTo>
                      <a:pt x="340070" y="248234"/>
                    </a:lnTo>
                    <a:cubicBezTo>
                      <a:pt x="358397" y="260749"/>
                      <a:pt x="369057" y="281295"/>
                      <a:pt x="369057" y="302961"/>
                    </a:cubicBezTo>
                    <a:cubicBezTo>
                      <a:pt x="369057" y="339571"/>
                      <a:pt x="339322" y="369269"/>
                      <a:pt x="302667" y="369269"/>
                    </a:cubicBezTo>
                    <a:cubicBezTo>
                      <a:pt x="266013" y="369269"/>
                      <a:pt x="236465" y="339571"/>
                      <a:pt x="236465" y="302961"/>
                    </a:cubicBezTo>
                    <a:cubicBezTo>
                      <a:pt x="236465" y="280548"/>
                      <a:pt x="247686" y="260375"/>
                      <a:pt x="265265" y="248234"/>
                    </a:cubicBezTo>
                    <a:lnTo>
                      <a:pt x="265265" y="37356"/>
                    </a:lnTo>
                    <a:cubicBezTo>
                      <a:pt x="265265" y="16810"/>
                      <a:pt x="282096" y="0"/>
                      <a:pt x="30266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3765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EB861CBC-3228-4D00-899A-7942F4881D79}"/>
                </a:ext>
              </a:extLst>
            </p:cNvPr>
            <p:cNvGrpSpPr/>
            <p:nvPr/>
          </p:nvGrpSpPr>
          <p:grpSpPr>
            <a:xfrm>
              <a:off x="1781292" y="4433859"/>
              <a:ext cx="2552819" cy="1272217"/>
              <a:chOff x="1559383" y="4419164"/>
              <a:chExt cx="2552819" cy="1272217"/>
            </a:xfrm>
          </p:grpSpPr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F5AE7B0F-225A-46C5-8FDC-94A536D1F972}"/>
                  </a:ext>
                </a:extLst>
              </p:cNvPr>
              <p:cNvSpPr txBox="1"/>
              <p:nvPr/>
            </p:nvSpPr>
            <p:spPr>
              <a:xfrm>
                <a:off x="1559383" y="4419164"/>
                <a:ext cx="2552819" cy="42052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sz="1600" b="1" dirty="0"/>
                  <a:t>…</a:t>
                </a:r>
                <a:r>
                  <a:rPr lang="zh-CN" altLang="en-US" sz="1600" b="1" dirty="0"/>
                  <a:t>方法</a:t>
                </a:r>
              </a:p>
            </p:txBody>
          </p:sp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5DB6315B-9913-402E-9858-2DC0F57DC0F5}"/>
                  </a:ext>
                </a:extLst>
              </p:cNvPr>
              <p:cNvSpPr/>
              <p:nvPr/>
            </p:nvSpPr>
            <p:spPr bwMode="auto">
              <a:xfrm>
                <a:off x="1559383" y="4839692"/>
                <a:ext cx="2552819" cy="8516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r>
                  <a:rPr lang="en-US" altLang="zh-CN" sz="1100" dirty="0"/>
                  <a:t>Copy paste fonts. Choose the </a:t>
                </a:r>
                <a:r>
                  <a:rPr lang="en-US" altLang="zh-CN" sz="1100"/>
                  <a:t>only opti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on </a:t>
                </a:r>
                <a:r>
                  <a:rPr lang="en-US" altLang="zh-CN" sz="1100" dirty="0"/>
                  <a:t>to retain text.</a:t>
                </a:r>
              </a:p>
              <a:p>
                <a:pPr algn="ctr">
                  <a:lnSpc>
                    <a:spcPct val="13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685416E1-4FF7-479F-AA01-61BDBC7BEEB4}"/>
                </a:ext>
              </a:extLst>
            </p:cNvPr>
            <p:cNvGrpSpPr/>
            <p:nvPr/>
          </p:nvGrpSpPr>
          <p:grpSpPr>
            <a:xfrm>
              <a:off x="3721025" y="1599977"/>
              <a:ext cx="2552819" cy="1272217"/>
              <a:chOff x="3543181" y="1585282"/>
              <a:chExt cx="2552819" cy="1272217"/>
            </a:xfrm>
          </p:grpSpPr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0BF4A968-F312-42FE-852D-48FC6D7935C0}"/>
                  </a:ext>
                </a:extLst>
              </p:cNvPr>
              <p:cNvSpPr txBox="1"/>
              <p:nvPr/>
            </p:nvSpPr>
            <p:spPr>
              <a:xfrm>
                <a:off x="3543181" y="1585282"/>
                <a:ext cx="2552819" cy="42052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sz="1600" b="1" dirty="0"/>
                  <a:t>…</a:t>
                </a:r>
                <a:r>
                  <a:rPr lang="zh-CN" altLang="en-US" sz="1600" b="1" dirty="0"/>
                  <a:t>方法</a:t>
                </a:r>
              </a:p>
            </p:txBody>
          </p:sp>
          <p:sp>
            <p:nvSpPr>
              <p:cNvPr id="16" name="矩形 15">
                <a:extLst>
                  <a:ext uri="{FF2B5EF4-FFF2-40B4-BE49-F238E27FC236}">
                    <a16:creationId xmlns:a16="http://schemas.microsoft.com/office/drawing/2014/main" id="{0B85DD93-7F82-48D7-BC2D-E0D86BF0B356}"/>
                  </a:ext>
                </a:extLst>
              </p:cNvPr>
              <p:cNvSpPr/>
              <p:nvPr/>
            </p:nvSpPr>
            <p:spPr bwMode="auto">
              <a:xfrm>
                <a:off x="3543181" y="2005810"/>
                <a:ext cx="2552819" cy="8516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r>
                  <a:rPr lang="en-US" altLang="zh-CN" sz="1100" dirty="0"/>
                  <a:t>Copy paste fonts. Choose the </a:t>
                </a:r>
                <a:r>
                  <a:rPr lang="en-US" altLang="zh-CN" sz="1100"/>
                  <a:t>only opti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on </a:t>
                </a:r>
                <a:r>
                  <a:rPr lang="en-US" altLang="zh-CN" sz="1100" dirty="0"/>
                  <a:t>to retain text.</a:t>
                </a:r>
              </a:p>
              <a:p>
                <a:pPr algn="ctr">
                  <a:lnSpc>
                    <a:spcPct val="13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E9F75EAB-11FD-4D3F-91EF-DACDA23B8D17}"/>
                </a:ext>
              </a:extLst>
            </p:cNvPr>
            <p:cNvGrpSpPr/>
            <p:nvPr/>
          </p:nvGrpSpPr>
          <p:grpSpPr>
            <a:xfrm>
              <a:off x="7600490" y="1558323"/>
              <a:ext cx="2552819" cy="1272217"/>
              <a:chOff x="7378581" y="1543628"/>
              <a:chExt cx="2552819" cy="1272217"/>
            </a:xfrm>
          </p:grpSpPr>
          <p:sp>
            <p:nvSpPr>
              <p:cNvPr id="13" name="文本框 12">
                <a:extLst>
                  <a:ext uri="{FF2B5EF4-FFF2-40B4-BE49-F238E27FC236}">
                    <a16:creationId xmlns:a16="http://schemas.microsoft.com/office/drawing/2014/main" id="{DA56318E-851C-476E-B36D-3B1A179BA35C}"/>
                  </a:ext>
                </a:extLst>
              </p:cNvPr>
              <p:cNvSpPr txBox="1"/>
              <p:nvPr/>
            </p:nvSpPr>
            <p:spPr>
              <a:xfrm>
                <a:off x="7378581" y="1543628"/>
                <a:ext cx="2552819" cy="42052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sz="1600" b="1" dirty="0"/>
                  <a:t>…</a:t>
                </a:r>
                <a:r>
                  <a:rPr lang="zh-CN" altLang="en-US" sz="1600" b="1" dirty="0"/>
                  <a:t>方法</a:t>
                </a:r>
              </a:p>
            </p:txBody>
          </p:sp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53FB31EA-9A3F-4075-923B-7FC46A1E3F23}"/>
                  </a:ext>
                </a:extLst>
              </p:cNvPr>
              <p:cNvSpPr/>
              <p:nvPr/>
            </p:nvSpPr>
            <p:spPr bwMode="auto">
              <a:xfrm>
                <a:off x="7378581" y="1964156"/>
                <a:ext cx="2552819" cy="8516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r>
                  <a:rPr lang="en-US" altLang="zh-CN" sz="1100" dirty="0"/>
                  <a:t>Copy paste fonts. Choose the </a:t>
                </a:r>
                <a:r>
                  <a:rPr lang="en-US" altLang="zh-CN" sz="1100"/>
                  <a:t>only opti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on </a:t>
                </a:r>
                <a:r>
                  <a:rPr lang="en-US" altLang="zh-CN" sz="1100" dirty="0"/>
                  <a:t>to retain text.</a:t>
                </a:r>
              </a:p>
              <a:p>
                <a:pPr algn="ctr">
                  <a:lnSpc>
                    <a:spcPct val="13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3E1C05BB-83F3-411C-8C8F-24F37E50B1F4}"/>
                </a:ext>
              </a:extLst>
            </p:cNvPr>
            <p:cNvGrpSpPr/>
            <p:nvPr/>
          </p:nvGrpSpPr>
          <p:grpSpPr>
            <a:xfrm>
              <a:off x="5660758" y="4433859"/>
              <a:ext cx="2552819" cy="1272217"/>
              <a:chOff x="5526981" y="4419164"/>
              <a:chExt cx="2552819" cy="1272217"/>
            </a:xfrm>
          </p:grpSpPr>
          <p:sp>
            <p:nvSpPr>
              <p:cNvPr id="11" name="文本框 10">
                <a:extLst>
                  <a:ext uri="{FF2B5EF4-FFF2-40B4-BE49-F238E27FC236}">
                    <a16:creationId xmlns:a16="http://schemas.microsoft.com/office/drawing/2014/main" id="{98E989BB-0E45-4953-B192-68BDA8AB03F6}"/>
                  </a:ext>
                </a:extLst>
              </p:cNvPr>
              <p:cNvSpPr txBox="1"/>
              <p:nvPr/>
            </p:nvSpPr>
            <p:spPr>
              <a:xfrm>
                <a:off x="5526981" y="4419164"/>
                <a:ext cx="2552819" cy="42052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sz="1600" b="1" dirty="0"/>
                  <a:t>…</a:t>
                </a:r>
                <a:r>
                  <a:rPr lang="zh-CN" altLang="en-US" sz="1600" b="1" dirty="0"/>
                  <a:t>方法</a:t>
                </a:r>
              </a:p>
            </p:txBody>
          </p:sp>
          <p:sp>
            <p:nvSpPr>
              <p:cNvPr id="12" name="矩形 11">
                <a:extLst>
                  <a:ext uri="{FF2B5EF4-FFF2-40B4-BE49-F238E27FC236}">
                    <a16:creationId xmlns:a16="http://schemas.microsoft.com/office/drawing/2014/main" id="{4B378C23-B801-4AF2-BAC5-76BFBB05CFFD}"/>
                  </a:ext>
                </a:extLst>
              </p:cNvPr>
              <p:cNvSpPr/>
              <p:nvPr/>
            </p:nvSpPr>
            <p:spPr bwMode="auto">
              <a:xfrm>
                <a:off x="5526981" y="4839692"/>
                <a:ext cx="2552819" cy="8516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r>
                  <a:rPr lang="en-US" altLang="zh-CN" sz="1100"/>
                  <a:t>C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opy </a:t>
                </a:r>
                <a:r>
                  <a:rPr lang="en-US" altLang="zh-CN" sz="1100" dirty="0"/>
                  <a:t>paste fonts. Choose the only option to retain text.</a:t>
                </a:r>
              </a:p>
              <a:p>
                <a:pPr algn="ctr">
                  <a:lnSpc>
                    <a:spcPct val="13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9208544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85FAF48-5266-4EBC-B3BB-8FEA9C5F93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工作方向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465EE88-8CE8-4275-A97A-933CC61C96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E0C96F8-E35E-4E88-80D5-29848CAEC0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 dirty="0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87B6FB8-B940-4414-8142-75D4411A333D}"/>
              </a:ext>
            </a:extLst>
          </p:cNvPr>
          <p:cNvGrpSpPr>
            <a:grpSpLocks noChangeAspect="1"/>
          </p:cNvGrpSpPr>
          <p:nvPr/>
        </p:nvGrpSpPr>
        <p:grpSpPr>
          <a:xfrm>
            <a:off x="677461" y="1166725"/>
            <a:ext cx="10843027" cy="5105038"/>
            <a:chOff x="677461" y="1166725"/>
            <a:chExt cx="10843027" cy="5105038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25916DAD-39DF-4365-9B31-459DAD74374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56215" y="5726904"/>
              <a:ext cx="320006" cy="83119"/>
              <a:chOff x="0" y="0"/>
              <a:chExt cx="438150" cy="114300"/>
            </a:xfrm>
            <a:noFill/>
          </p:grpSpPr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D2D3B0AC-9C14-49F1-A2F4-E8784F92D357}"/>
                  </a:ext>
                </a:extLst>
              </p:cNvPr>
              <p:cNvSpPr/>
              <p:nvPr/>
            </p:nvSpPr>
            <p:spPr bwMode="auto">
              <a:xfrm>
                <a:off x="0" y="0"/>
                <a:ext cx="438150" cy="114300"/>
              </a:xfrm>
              <a:custGeom>
                <a:avLst/>
                <a:gdLst>
                  <a:gd name="G0" fmla="+- 5400 0 0"/>
                  <a:gd name="G1" fmla="+- 21600 0 5400"/>
                  <a:gd name="G2" fmla="+- 21600 0 5400"/>
                  <a:gd name="G3" fmla="*/ G0 2929 10000"/>
                  <a:gd name="G4" fmla="+- 21600 0 G3"/>
                  <a:gd name="G5" fmla="+- 21600 0 G3"/>
                  <a:gd name="T0" fmla="*/ 10800 w 21600"/>
                  <a:gd name="T1" fmla="*/ 0 h 21600"/>
                  <a:gd name="T2" fmla="*/ 3163 w 21600"/>
                  <a:gd name="T3" fmla="*/ 3163 h 21600"/>
                  <a:gd name="T4" fmla="*/ 0 w 21600"/>
                  <a:gd name="T5" fmla="*/ 10800 h 21600"/>
                  <a:gd name="T6" fmla="*/ 3163 w 21600"/>
                  <a:gd name="T7" fmla="*/ 18437 h 21600"/>
                  <a:gd name="T8" fmla="*/ 10800 w 21600"/>
                  <a:gd name="T9" fmla="*/ 21600 h 21600"/>
                  <a:gd name="T10" fmla="*/ 18437 w 21600"/>
                  <a:gd name="T11" fmla="*/ 18437 h 21600"/>
                  <a:gd name="T12" fmla="*/ 21600 w 21600"/>
                  <a:gd name="T13" fmla="*/ 10800 h 21600"/>
                  <a:gd name="T14" fmla="*/ 18437 w 21600"/>
                  <a:gd name="T15" fmla="*/ 3163 h 21600"/>
                  <a:gd name="T16" fmla="*/ 3163 w 21600"/>
                  <a:gd name="T17" fmla="*/ 3163 h 21600"/>
                  <a:gd name="T18" fmla="*/ 18437 w 21600"/>
                  <a:gd name="T19" fmla="*/ 18437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0" y="10800"/>
                    </a:moveTo>
                    <a:cubicBezTo>
                      <a:pt x="0" y="4835"/>
                      <a:pt x="4835" y="0"/>
                      <a:pt x="10800" y="0"/>
                    </a:cubicBezTo>
                    <a:cubicBezTo>
                      <a:pt x="16765" y="0"/>
                      <a:pt x="21600" y="4835"/>
                      <a:pt x="21600" y="10800"/>
                    </a:cubicBezTo>
                    <a:cubicBezTo>
                      <a:pt x="21600" y="16765"/>
                      <a:pt x="16765" y="21600"/>
                      <a:pt x="10800" y="21600"/>
                    </a:cubicBezTo>
                    <a:cubicBezTo>
                      <a:pt x="4835" y="21600"/>
                      <a:pt x="0" y="16765"/>
                      <a:pt x="0" y="10800"/>
                    </a:cubicBezTo>
                    <a:close/>
                    <a:moveTo>
                      <a:pt x="5400" y="10800"/>
                    </a:moveTo>
                    <a:cubicBezTo>
                      <a:pt x="5400" y="13782"/>
                      <a:pt x="7818" y="16200"/>
                      <a:pt x="10800" y="16200"/>
                    </a:cubicBezTo>
                    <a:cubicBezTo>
                      <a:pt x="13782" y="16200"/>
                      <a:pt x="16200" y="13782"/>
                      <a:pt x="16200" y="10800"/>
                    </a:cubicBezTo>
                    <a:cubicBezTo>
                      <a:pt x="16200" y="7818"/>
                      <a:pt x="13782" y="5400"/>
                      <a:pt x="10800" y="5400"/>
                    </a:cubicBezTo>
                    <a:cubicBezTo>
                      <a:pt x="7818" y="5400"/>
                      <a:pt x="5400" y="7818"/>
                      <a:pt x="5400" y="1080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accent1"/>
                </a:solidFill>
                <a:bevel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" name="椭圆 75">
                <a:extLst>
                  <a:ext uri="{FF2B5EF4-FFF2-40B4-BE49-F238E27FC236}">
                    <a16:creationId xmlns:a16="http://schemas.microsoft.com/office/drawing/2014/main" id="{FD6CC847-4966-4C46-978A-BA828178CB75}"/>
                  </a:ext>
                </a:extLst>
              </p:cNvPr>
              <p:cNvSpPr/>
              <p:nvPr/>
            </p:nvSpPr>
            <p:spPr bwMode="auto">
              <a:xfrm>
                <a:off x="129075" y="39150"/>
                <a:ext cx="180000" cy="36000"/>
              </a:xfrm>
              <a:prstGeom prst="ellipse">
                <a:avLst/>
              </a:prstGeom>
              <a:grpFill/>
              <a:ln w="12700" cap="flat" cmpd="sng">
                <a:solidFill>
                  <a:schemeClr val="accent1"/>
                </a:solidFill>
                <a:bevel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5FD35E99-5877-45E1-A7F2-57FB8395AE8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11883" y="5698434"/>
              <a:ext cx="320006" cy="83119"/>
              <a:chOff x="0" y="0"/>
              <a:chExt cx="438150" cy="114300"/>
            </a:xfrm>
            <a:noFill/>
          </p:grpSpPr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8B27112E-89E2-487E-987A-8208D922B8F1}"/>
                  </a:ext>
                </a:extLst>
              </p:cNvPr>
              <p:cNvSpPr/>
              <p:nvPr/>
            </p:nvSpPr>
            <p:spPr bwMode="auto">
              <a:xfrm>
                <a:off x="0" y="0"/>
                <a:ext cx="438150" cy="114300"/>
              </a:xfrm>
              <a:custGeom>
                <a:avLst/>
                <a:gdLst>
                  <a:gd name="G0" fmla="+- 5400 0 0"/>
                  <a:gd name="G1" fmla="+- 21600 0 5400"/>
                  <a:gd name="G2" fmla="+- 21600 0 5400"/>
                  <a:gd name="G3" fmla="*/ G0 2929 10000"/>
                  <a:gd name="G4" fmla="+- 21600 0 G3"/>
                  <a:gd name="G5" fmla="+- 21600 0 G3"/>
                  <a:gd name="T0" fmla="*/ 10800 w 21600"/>
                  <a:gd name="T1" fmla="*/ 0 h 21600"/>
                  <a:gd name="T2" fmla="*/ 3163 w 21600"/>
                  <a:gd name="T3" fmla="*/ 3163 h 21600"/>
                  <a:gd name="T4" fmla="*/ 0 w 21600"/>
                  <a:gd name="T5" fmla="*/ 10800 h 21600"/>
                  <a:gd name="T6" fmla="*/ 3163 w 21600"/>
                  <a:gd name="T7" fmla="*/ 18437 h 21600"/>
                  <a:gd name="T8" fmla="*/ 10800 w 21600"/>
                  <a:gd name="T9" fmla="*/ 21600 h 21600"/>
                  <a:gd name="T10" fmla="*/ 18437 w 21600"/>
                  <a:gd name="T11" fmla="*/ 18437 h 21600"/>
                  <a:gd name="T12" fmla="*/ 21600 w 21600"/>
                  <a:gd name="T13" fmla="*/ 10800 h 21600"/>
                  <a:gd name="T14" fmla="*/ 18437 w 21600"/>
                  <a:gd name="T15" fmla="*/ 3163 h 21600"/>
                  <a:gd name="T16" fmla="*/ 3163 w 21600"/>
                  <a:gd name="T17" fmla="*/ 3163 h 21600"/>
                  <a:gd name="T18" fmla="*/ 18437 w 21600"/>
                  <a:gd name="T19" fmla="*/ 18437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0" y="10800"/>
                    </a:moveTo>
                    <a:cubicBezTo>
                      <a:pt x="0" y="4835"/>
                      <a:pt x="4835" y="0"/>
                      <a:pt x="10800" y="0"/>
                    </a:cubicBezTo>
                    <a:cubicBezTo>
                      <a:pt x="16765" y="0"/>
                      <a:pt x="21600" y="4835"/>
                      <a:pt x="21600" y="10800"/>
                    </a:cubicBezTo>
                    <a:cubicBezTo>
                      <a:pt x="21600" y="16765"/>
                      <a:pt x="16765" y="21600"/>
                      <a:pt x="10800" y="21600"/>
                    </a:cubicBezTo>
                    <a:cubicBezTo>
                      <a:pt x="4835" y="21600"/>
                      <a:pt x="0" y="16765"/>
                      <a:pt x="0" y="10800"/>
                    </a:cubicBezTo>
                    <a:close/>
                    <a:moveTo>
                      <a:pt x="5400" y="10800"/>
                    </a:moveTo>
                    <a:cubicBezTo>
                      <a:pt x="5400" y="13782"/>
                      <a:pt x="7818" y="16200"/>
                      <a:pt x="10800" y="16200"/>
                    </a:cubicBezTo>
                    <a:cubicBezTo>
                      <a:pt x="13782" y="16200"/>
                      <a:pt x="16200" y="13782"/>
                      <a:pt x="16200" y="10800"/>
                    </a:cubicBezTo>
                    <a:cubicBezTo>
                      <a:pt x="16200" y="7818"/>
                      <a:pt x="13782" y="5400"/>
                      <a:pt x="10800" y="5400"/>
                    </a:cubicBezTo>
                    <a:cubicBezTo>
                      <a:pt x="7818" y="5400"/>
                      <a:pt x="5400" y="7818"/>
                      <a:pt x="5400" y="1080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accent1"/>
                </a:solidFill>
                <a:bevel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" name="椭圆 73">
                <a:extLst>
                  <a:ext uri="{FF2B5EF4-FFF2-40B4-BE49-F238E27FC236}">
                    <a16:creationId xmlns:a16="http://schemas.microsoft.com/office/drawing/2014/main" id="{7C7A0F20-0E54-410A-9018-F5BF83FE4BFF}"/>
                  </a:ext>
                </a:extLst>
              </p:cNvPr>
              <p:cNvSpPr/>
              <p:nvPr/>
            </p:nvSpPr>
            <p:spPr bwMode="auto">
              <a:xfrm>
                <a:off x="129075" y="39150"/>
                <a:ext cx="180000" cy="36000"/>
              </a:xfrm>
              <a:prstGeom prst="ellipse">
                <a:avLst/>
              </a:prstGeom>
              <a:grpFill/>
              <a:ln w="12700" cap="flat" cmpd="sng">
                <a:solidFill>
                  <a:schemeClr val="accent1"/>
                </a:solidFill>
                <a:bevel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638AD783-0EBD-4FE0-A788-1D00E951655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226675" y="5886217"/>
              <a:ext cx="373344" cy="96973"/>
              <a:chOff x="0" y="0"/>
              <a:chExt cx="438150" cy="114300"/>
            </a:xfrm>
            <a:noFill/>
          </p:grpSpPr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F13C1560-FF9E-4BD7-AA7B-E2D1759FC19D}"/>
                  </a:ext>
                </a:extLst>
              </p:cNvPr>
              <p:cNvSpPr/>
              <p:nvPr/>
            </p:nvSpPr>
            <p:spPr bwMode="auto">
              <a:xfrm>
                <a:off x="0" y="0"/>
                <a:ext cx="438150" cy="114300"/>
              </a:xfrm>
              <a:custGeom>
                <a:avLst/>
                <a:gdLst>
                  <a:gd name="G0" fmla="+- 5400 0 0"/>
                  <a:gd name="G1" fmla="+- 21600 0 5400"/>
                  <a:gd name="G2" fmla="+- 21600 0 5400"/>
                  <a:gd name="G3" fmla="*/ G0 2929 10000"/>
                  <a:gd name="G4" fmla="+- 21600 0 G3"/>
                  <a:gd name="G5" fmla="+- 21600 0 G3"/>
                  <a:gd name="T0" fmla="*/ 10800 w 21600"/>
                  <a:gd name="T1" fmla="*/ 0 h 21600"/>
                  <a:gd name="T2" fmla="*/ 3163 w 21600"/>
                  <a:gd name="T3" fmla="*/ 3163 h 21600"/>
                  <a:gd name="T4" fmla="*/ 0 w 21600"/>
                  <a:gd name="T5" fmla="*/ 10800 h 21600"/>
                  <a:gd name="T6" fmla="*/ 3163 w 21600"/>
                  <a:gd name="T7" fmla="*/ 18437 h 21600"/>
                  <a:gd name="T8" fmla="*/ 10800 w 21600"/>
                  <a:gd name="T9" fmla="*/ 21600 h 21600"/>
                  <a:gd name="T10" fmla="*/ 18437 w 21600"/>
                  <a:gd name="T11" fmla="*/ 18437 h 21600"/>
                  <a:gd name="T12" fmla="*/ 21600 w 21600"/>
                  <a:gd name="T13" fmla="*/ 10800 h 21600"/>
                  <a:gd name="T14" fmla="*/ 18437 w 21600"/>
                  <a:gd name="T15" fmla="*/ 3163 h 21600"/>
                  <a:gd name="T16" fmla="*/ 3163 w 21600"/>
                  <a:gd name="T17" fmla="*/ 3163 h 21600"/>
                  <a:gd name="T18" fmla="*/ 18437 w 21600"/>
                  <a:gd name="T19" fmla="*/ 18437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0" y="10800"/>
                    </a:moveTo>
                    <a:cubicBezTo>
                      <a:pt x="0" y="4835"/>
                      <a:pt x="4835" y="0"/>
                      <a:pt x="10800" y="0"/>
                    </a:cubicBezTo>
                    <a:cubicBezTo>
                      <a:pt x="16765" y="0"/>
                      <a:pt x="21600" y="4835"/>
                      <a:pt x="21600" y="10800"/>
                    </a:cubicBezTo>
                    <a:cubicBezTo>
                      <a:pt x="21600" y="16765"/>
                      <a:pt x="16765" y="21600"/>
                      <a:pt x="10800" y="21600"/>
                    </a:cubicBezTo>
                    <a:cubicBezTo>
                      <a:pt x="4835" y="21600"/>
                      <a:pt x="0" y="16765"/>
                      <a:pt x="0" y="10800"/>
                    </a:cubicBezTo>
                    <a:close/>
                    <a:moveTo>
                      <a:pt x="5400" y="10800"/>
                    </a:moveTo>
                    <a:cubicBezTo>
                      <a:pt x="5400" y="13782"/>
                      <a:pt x="7818" y="16200"/>
                      <a:pt x="10800" y="16200"/>
                    </a:cubicBezTo>
                    <a:cubicBezTo>
                      <a:pt x="13782" y="16200"/>
                      <a:pt x="16200" y="13782"/>
                      <a:pt x="16200" y="10800"/>
                    </a:cubicBezTo>
                    <a:cubicBezTo>
                      <a:pt x="16200" y="7818"/>
                      <a:pt x="13782" y="5400"/>
                      <a:pt x="10800" y="5400"/>
                    </a:cubicBezTo>
                    <a:cubicBezTo>
                      <a:pt x="7818" y="5400"/>
                      <a:pt x="5400" y="7818"/>
                      <a:pt x="5400" y="1080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accent1"/>
                </a:solidFill>
                <a:bevel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" name="椭圆 71">
                <a:extLst>
                  <a:ext uri="{FF2B5EF4-FFF2-40B4-BE49-F238E27FC236}">
                    <a16:creationId xmlns:a16="http://schemas.microsoft.com/office/drawing/2014/main" id="{92EFD82D-EC5E-424E-BFCC-4033C306546D}"/>
                  </a:ext>
                </a:extLst>
              </p:cNvPr>
              <p:cNvSpPr/>
              <p:nvPr/>
            </p:nvSpPr>
            <p:spPr bwMode="auto">
              <a:xfrm>
                <a:off x="129075" y="39150"/>
                <a:ext cx="180000" cy="36000"/>
              </a:xfrm>
              <a:prstGeom prst="ellipse">
                <a:avLst/>
              </a:prstGeom>
              <a:grpFill/>
              <a:ln w="12700" cap="flat" cmpd="sng">
                <a:solidFill>
                  <a:schemeClr val="accent1"/>
                </a:solidFill>
                <a:bevel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C1796111-14E5-4C15-A334-5FB9FE8E092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902717" y="5750766"/>
              <a:ext cx="320006" cy="83119"/>
              <a:chOff x="0" y="0"/>
              <a:chExt cx="438150" cy="114300"/>
            </a:xfrm>
            <a:noFill/>
          </p:grpSpPr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8E34B419-5694-4427-B72F-ED4EBBF5082C}"/>
                  </a:ext>
                </a:extLst>
              </p:cNvPr>
              <p:cNvSpPr/>
              <p:nvPr/>
            </p:nvSpPr>
            <p:spPr bwMode="auto">
              <a:xfrm>
                <a:off x="0" y="0"/>
                <a:ext cx="438150" cy="114300"/>
              </a:xfrm>
              <a:custGeom>
                <a:avLst/>
                <a:gdLst>
                  <a:gd name="G0" fmla="+- 5400 0 0"/>
                  <a:gd name="G1" fmla="+- 21600 0 5400"/>
                  <a:gd name="G2" fmla="+- 21600 0 5400"/>
                  <a:gd name="G3" fmla="*/ G0 2929 10000"/>
                  <a:gd name="G4" fmla="+- 21600 0 G3"/>
                  <a:gd name="G5" fmla="+- 21600 0 G3"/>
                  <a:gd name="T0" fmla="*/ 10800 w 21600"/>
                  <a:gd name="T1" fmla="*/ 0 h 21600"/>
                  <a:gd name="T2" fmla="*/ 3163 w 21600"/>
                  <a:gd name="T3" fmla="*/ 3163 h 21600"/>
                  <a:gd name="T4" fmla="*/ 0 w 21600"/>
                  <a:gd name="T5" fmla="*/ 10800 h 21600"/>
                  <a:gd name="T6" fmla="*/ 3163 w 21600"/>
                  <a:gd name="T7" fmla="*/ 18437 h 21600"/>
                  <a:gd name="T8" fmla="*/ 10800 w 21600"/>
                  <a:gd name="T9" fmla="*/ 21600 h 21600"/>
                  <a:gd name="T10" fmla="*/ 18437 w 21600"/>
                  <a:gd name="T11" fmla="*/ 18437 h 21600"/>
                  <a:gd name="T12" fmla="*/ 21600 w 21600"/>
                  <a:gd name="T13" fmla="*/ 10800 h 21600"/>
                  <a:gd name="T14" fmla="*/ 18437 w 21600"/>
                  <a:gd name="T15" fmla="*/ 3163 h 21600"/>
                  <a:gd name="T16" fmla="*/ 3163 w 21600"/>
                  <a:gd name="T17" fmla="*/ 3163 h 21600"/>
                  <a:gd name="T18" fmla="*/ 18437 w 21600"/>
                  <a:gd name="T19" fmla="*/ 18437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0" y="10800"/>
                    </a:moveTo>
                    <a:cubicBezTo>
                      <a:pt x="0" y="4835"/>
                      <a:pt x="4835" y="0"/>
                      <a:pt x="10800" y="0"/>
                    </a:cubicBezTo>
                    <a:cubicBezTo>
                      <a:pt x="16765" y="0"/>
                      <a:pt x="21600" y="4835"/>
                      <a:pt x="21600" y="10800"/>
                    </a:cubicBezTo>
                    <a:cubicBezTo>
                      <a:pt x="21600" y="16765"/>
                      <a:pt x="16765" y="21600"/>
                      <a:pt x="10800" y="21600"/>
                    </a:cubicBezTo>
                    <a:cubicBezTo>
                      <a:pt x="4835" y="21600"/>
                      <a:pt x="0" y="16765"/>
                      <a:pt x="0" y="10800"/>
                    </a:cubicBezTo>
                    <a:close/>
                    <a:moveTo>
                      <a:pt x="5400" y="10800"/>
                    </a:moveTo>
                    <a:cubicBezTo>
                      <a:pt x="5400" y="13782"/>
                      <a:pt x="7818" y="16200"/>
                      <a:pt x="10800" y="16200"/>
                    </a:cubicBezTo>
                    <a:cubicBezTo>
                      <a:pt x="13782" y="16200"/>
                      <a:pt x="16200" y="13782"/>
                      <a:pt x="16200" y="10800"/>
                    </a:cubicBezTo>
                    <a:cubicBezTo>
                      <a:pt x="16200" y="7818"/>
                      <a:pt x="13782" y="5400"/>
                      <a:pt x="10800" y="5400"/>
                    </a:cubicBezTo>
                    <a:cubicBezTo>
                      <a:pt x="7818" y="5400"/>
                      <a:pt x="5400" y="7818"/>
                      <a:pt x="5400" y="1080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accent1"/>
                </a:solidFill>
                <a:bevel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" name="椭圆 69">
                <a:extLst>
                  <a:ext uri="{FF2B5EF4-FFF2-40B4-BE49-F238E27FC236}">
                    <a16:creationId xmlns:a16="http://schemas.microsoft.com/office/drawing/2014/main" id="{892431E2-0415-4B09-8078-F05DC986CEDE}"/>
                  </a:ext>
                </a:extLst>
              </p:cNvPr>
              <p:cNvSpPr/>
              <p:nvPr/>
            </p:nvSpPr>
            <p:spPr bwMode="auto">
              <a:xfrm>
                <a:off x="129075" y="39150"/>
                <a:ext cx="180000" cy="36000"/>
              </a:xfrm>
              <a:prstGeom prst="ellipse">
                <a:avLst/>
              </a:prstGeom>
              <a:grpFill/>
              <a:ln w="12700" cap="flat" cmpd="sng">
                <a:solidFill>
                  <a:schemeClr val="accent1"/>
                </a:solidFill>
                <a:bevel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311C83AA-B912-46DA-BE0F-1089FFC6088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490341" y="6014733"/>
              <a:ext cx="482960" cy="125445"/>
              <a:chOff x="0" y="0"/>
              <a:chExt cx="438150" cy="114300"/>
            </a:xfrm>
            <a:noFill/>
          </p:grpSpPr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E0712AE3-4F9E-4AAD-84FC-E80889C7B61C}"/>
                  </a:ext>
                </a:extLst>
              </p:cNvPr>
              <p:cNvSpPr/>
              <p:nvPr/>
            </p:nvSpPr>
            <p:spPr bwMode="auto">
              <a:xfrm>
                <a:off x="0" y="0"/>
                <a:ext cx="438150" cy="114300"/>
              </a:xfrm>
              <a:custGeom>
                <a:avLst/>
                <a:gdLst>
                  <a:gd name="G0" fmla="+- 5400 0 0"/>
                  <a:gd name="G1" fmla="+- 21600 0 5400"/>
                  <a:gd name="G2" fmla="+- 21600 0 5400"/>
                  <a:gd name="G3" fmla="*/ G0 2929 10000"/>
                  <a:gd name="G4" fmla="+- 21600 0 G3"/>
                  <a:gd name="G5" fmla="+- 21600 0 G3"/>
                  <a:gd name="T0" fmla="*/ 10800 w 21600"/>
                  <a:gd name="T1" fmla="*/ 0 h 21600"/>
                  <a:gd name="T2" fmla="*/ 3163 w 21600"/>
                  <a:gd name="T3" fmla="*/ 3163 h 21600"/>
                  <a:gd name="T4" fmla="*/ 0 w 21600"/>
                  <a:gd name="T5" fmla="*/ 10800 h 21600"/>
                  <a:gd name="T6" fmla="*/ 3163 w 21600"/>
                  <a:gd name="T7" fmla="*/ 18437 h 21600"/>
                  <a:gd name="T8" fmla="*/ 10800 w 21600"/>
                  <a:gd name="T9" fmla="*/ 21600 h 21600"/>
                  <a:gd name="T10" fmla="*/ 18437 w 21600"/>
                  <a:gd name="T11" fmla="*/ 18437 h 21600"/>
                  <a:gd name="T12" fmla="*/ 21600 w 21600"/>
                  <a:gd name="T13" fmla="*/ 10800 h 21600"/>
                  <a:gd name="T14" fmla="*/ 18437 w 21600"/>
                  <a:gd name="T15" fmla="*/ 3163 h 21600"/>
                  <a:gd name="T16" fmla="*/ 3163 w 21600"/>
                  <a:gd name="T17" fmla="*/ 3163 h 21600"/>
                  <a:gd name="T18" fmla="*/ 18437 w 21600"/>
                  <a:gd name="T19" fmla="*/ 18437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0" y="10800"/>
                    </a:moveTo>
                    <a:cubicBezTo>
                      <a:pt x="0" y="4835"/>
                      <a:pt x="4835" y="0"/>
                      <a:pt x="10800" y="0"/>
                    </a:cubicBezTo>
                    <a:cubicBezTo>
                      <a:pt x="16765" y="0"/>
                      <a:pt x="21600" y="4835"/>
                      <a:pt x="21600" y="10800"/>
                    </a:cubicBezTo>
                    <a:cubicBezTo>
                      <a:pt x="21600" y="16765"/>
                      <a:pt x="16765" y="21600"/>
                      <a:pt x="10800" y="21600"/>
                    </a:cubicBezTo>
                    <a:cubicBezTo>
                      <a:pt x="4835" y="21600"/>
                      <a:pt x="0" y="16765"/>
                      <a:pt x="0" y="10800"/>
                    </a:cubicBezTo>
                    <a:close/>
                    <a:moveTo>
                      <a:pt x="5400" y="10800"/>
                    </a:moveTo>
                    <a:cubicBezTo>
                      <a:pt x="5400" y="13782"/>
                      <a:pt x="7818" y="16200"/>
                      <a:pt x="10800" y="16200"/>
                    </a:cubicBezTo>
                    <a:cubicBezTo>
                      <a:pt x="13782" y="16200"/>
                      <a:pt x="16200" y="13782"/>
                      <a:pt x="16200" y="10800"/>
                    </a:cubicBezTo>
                    <a:cubicBezTo>
                      <a:pt x="16200" y="7818"/>
                      <a:pt x="13782" y="5400"/>
                      <a:pt x="10800" y="5400"/>
                    </a:cubicBezTo>
                    <a:cubicBezTo>
                      <a:pt x="7818" y="5400"/>
                      <a:pt x="5400" y="7818"/>
                      <a:pt x="5400" y="1080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accent1"/>
                </a:solidFill>
                <a:bevel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" name="椭圆 67">
                <a:extLst>
                  <a:ext uri="{FF2B5EF4-FFF2-40B4-BE49-F238E27FC236}">
                    <a16:creationId xmlns:a16="http://schemas.microsoft.com/office/drawing/2014/main" id="{7E5339A9-ABD6-43E7-951F-CFB0982165E0}"/>
                  </a:ext>
                </a:extLst>
              </p:cNvPr>
              <p:cNvSpPr/>
              <p:nvPr/>
            </p:nvSpPr>
            <p:spPr bwMode="auto">
              <a:xfrm>
                <a:off x="129075" y="39150"/>
                <a:ext cx="180000" cy="36000"/>
              </a:xfrm>
              <a:prstGeom prst="ellipse">
                <a:avLst/>
              </a:prstGeom>
              <a:grpFill/>
              <a:ln w="12700" cap="flat" cmpd="sng">
                <a:solidFill>
                  <a:schemeClr val="accent1"/>
                </a:solidFill>
                <a:bevel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014FE7D9-D502-4897-A465-BAF8479A64E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122513" y="5494990"/>
              <a:ext cx="320006" cy="83119"/>
              <a:chOff x="0" y="0"/>
              <a:chExt cx="438150" cy="114300"/>
            </a:xfrm>
            <a:noFill/>
          </p:grpSpPr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67179461-E926-4AB5-B147-CE89E25F4823}"/>
                  </a:ext>
                </a:extLst>
              </p:cNvPr>
              <p:cNvSpPr/>
              <p:nvPr/>
            </p:nvSpPr>
            <p:spPr bwMode="auto">
              <a:xfrm>
                <a:off x="0" y="0"/>
                <a:ext cx="438150" cy="114300"/>
              </a:xfrm>
              <a:custGeom>
                <a:avLst/>
                <a:gdLst>
                  <a:gd name="G0" fmla="+- 5400 0 0"/>
                  <a:gd name="G1" fmla="+- 21600 0 5400"/>
                  <a:gd name="G2" fmla="+- 21600 0 5400"/>
                  <a:gd name="G3" fmla="*/ G0 2929 10000"/>
                  <a:gd name="G4" fmla="+- 21600 0 G3"/>
                  <a:gd name="G5" fmla="+- 21600 0 G3"/>
                  <a:gd name="T0" fmla="*/ 10800 w 21600"/>
                  <a:gd name="T1" fmla="*/ 0 h 21600"/>
                  <a:gd name="T2" fmla="*/ 3163 w 21600"/>
                  <a:gd name="T3" fmla="*/ 3163 h 21600"/>
                  <a:gd name="T4" fmla="*/ 0 w 21600"/>
                  <a:gd name="T5" fmla="*/ 10800 h 21600"/>
                  <a:gd name="T6" fmla="*/ 3163 w 21600"/>
                  <a:gd name="T7" fmla="*/ 18437 h 21600"/>
                  <a:gd name="T8" fmla="*/ 10800 w 21600"/>
                  <a:gd name="T9" fmla="*/ 21600 h 21600"/>
                  <a:gd name="T10" fmla="*/ 18437 w 21600"/>
                  <a:gd name="T11" fmla="*/ 18437 h 21600"/>
                  <a:gd name="T12" fmla="*/ 21600 w 21600"/>
                  <a:gd name="T13" fmla="*/ 10800 h 21600"/>
                  <a:gd name="T14" fmla="*/ 18437 w 21600"/>
                  <a:gd name="T15" fmla="*/ 3163 h 21600"/>
                  <a:gd name="T16" fmla="*/ 3163 w 21600"/>
                  <a:gd name="T17" fmla="*/ 3163 h 21600"/>
                  <a:gd name="T18" fmla="*/ 18437 w 21600"/>
                  <a:gd name="T19" fmla="*/ 18437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0" y="10800"/>
                    </a:moveTo>
                    <a:cubicBezTo>
                      <a:pt x="0" y="4835"/>
                      <a:pt x="4835" y="0"/>
                      <a:pt x="10800" y="0"/>
                    </a:cubicBezTo>
                    <a:cubicBezTo>
                      <a:pt x="16765" y="0"/>
                      <a:pt x="21600" y="4835"/>
                      <a:pt x="21600" y="10800"/>
                    </a:cubicBezTo>
                    <a:cubicBezTo>
                      <a:pt x="21600" y="16765"/>
                      <a:pt x="16765" y="21600"/>
                      <a:pt x="10800" y="21600"/>
                    </a:cubicBezTo>
                    <a:cubicBezTo>
                      <a:pt x="4835" y="21600"/>
                      <a:pt x="0" y="16765"/>
                      <a:pt x="0" y="10800"/>
                    </a:cubicBezTo>
                    <a:close/>
                    <a:moveTo>
                      <a:pt x="5400" y="10800"/>
                    </a:moveTo>
                    <a:cubicBezTo>
                      <a:pt x="5400" y="13782"/>
                      <a:pt x="7818" y="16200"/>
                      <a:pt x="10800" y="16200"/>
                    </a:cubicBezTo>
                    <a:cubicBezTo>
                      <a:pt x="13782" y="16200"/>
                      <a:pt x="16200" y="13782"/>
                      <a:pt x="16200" y="10800"/>
                    </a:cubicBezTo>
                    <a:cubicBezTo>
                      <a:pt x="16200" y="7818"/>
                      <a:pt x="13782" y="5400"/>
                      <a:pt x="10800" y="5400"/>
                    </a:cubicBezTo>
                    <a:cubicBezTo>
                      <a:pt x="7818" y="5400"/>
                      <a:pt x="5400" y="7818"/>
                      <a:pt x="5400" y="1080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accent1"/>
                </a:solidFill>
                <a:bevel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" name="椭圆 65">
                <a:extLst>
                  <a:ext uri="{FF2B5EF4-FFF2-40B4-BE49-F238E27FC236}">
                    <a16:creationId xmlns:a16="http://schemas.microsoft.com/office/drawing/2014/main" id="{EE18E7D9-FEFF-4FEF-969E-5832041EE5B9}"/>
                  </a:ext>
                </a:extLst>
              </p:cNvPr>
              <p:cNvSpPr/>
              <p:nvPr/>
            </p:nvSpPr>
            <p:spPr bwMode="auto">
              <a:xfrm>
                <a:off x="129075" y="39150"/>
                <a:ext cx="180000" cy="36000"/>
              </a:xfrm>
              <a:prstGeom prst="ellipse">
                <a:avLst/>
              </a:prstGeom>
              <a:grpFill/>
              <a:ln w="12700" cap="flat" cmpd="sng">
                <a:solidFill>
                  <a:schemeClr val="accent1"/>
                </a:solidFill>
                <a:bevel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F62E5E1D-8645-4EAF-BD48-84828BC8F11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731220" y="5653535"/>
              <a:ext cx="320006" cy="83119"/>
              <a:chOff x="0" y="0"/>
              <a:chExt cx="438150" cy="114300"/>
            </a:xfrm>
            <a:noFill/>
          </p:grpSpPr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D3C141E4-6AF5-40F6-836F-25CBBFC90226}"/>
                  </a:ext>
                </a:extLst>
              </p:cNvPr>
              <p:cNvSpPr/>
              <p:nvPr/>
            </p:nvSpPr>
            <p:spPr bwMode="auto">
              <a:xfrm>
                <a:off x="0" y="0"/>
                <a:ext cx="438150" cy="114300"/>
              </a:xfrm>
              <a:custGeom>
                <a:avLst/>
                <a:gdLst>
                  <a:gd name="G0" fmla="+- 5400 0 0"/>
                  <a:gd name="G1" fmla="+- 21600 0 5400"/>
                  <a:gd name="G2" fmla="+- 21600 0 5400"/>
                  <a:gd name="G3" fmla="*/ G0 2929 10000"/>
                  <a:gd name="G4" fmla="+- 21600 0 G3"/>
                  <a:gd name="G5" fmla="+- 21600 0 G3"/>
                  <a:gd name="T0" fmla="*/ 10800 w 21600"/>
                  <a:gd name="T1" fmla="*/ 0 h 21600"/>
                  <a:gd name="T2" fmla="*/ 3163 w 21600"/>
                  <a:gd name="T3" fmla="*/ 3163 h 21600"/>
                  <a:gd name="T4" fmla="*/ 0 w 21600"/>
                  <a:gd name="T5" fmla="*/ 10800 h 21600"/>
                  <a:gd name="T6" fmla="*/ 3163 w 21600"/>
                  <a:gd name="T7" fmla="*/ 18437 h 21600"/>
                  <a:gd name="T8" fmla="*/ 10800 w 21600"/>
                  <a:gd name="T9" fmla="*/ 21600 h 21600"/>
                  <a:gd name="T10" fmla="*/ 18437 w 21600"/>
                  <a:gd name="T11" fmla="*/ 18437 h 21600"/>
                  <a:gd name="T12" fmla="*/ 21600 w 21600"/>
                  <a:gd name="T13" fmla="*/ 10800 h 21600"/>
                  <a:gd name="T14" fmla="*/ 18437 w 21600"/>
                  <a:gd name="T15" fmla="*/ 3163 h 21600"/>
                  <a:gd name="T16" fmla="*/ 3163 w 21600"/>
                  <a:gd name="T17" fmla="*/ 3163 h 21600"/>
                  <a:gd name="T18" fmla="*/ 18437 w 21600"/>
                  <a:gd name="T19" fmla="*/ 18437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0" y="10800"/>
                    </a:moveTo>
                    <a:cubicBezTo>
                      <a:pt x="0" y="4835"/>
                      <a:pt x="4835" y="0"/>
                      <a:pt x="10800" y="0"/>
                    </a:cubicBezTo>
                    <a:cubicBezTo>
                      <a:pt x="16765" y="0"/>
                      <a:pt x="21600" y="4835"/>
                      <a:pt x="21600" y="10800"/>
                    </a:cubicBezTo>
                    <a:cubicBezTo>
                      <a:pt x="21600" y="16765"/>
                      <a:pt x="16765" y="21600"/>
                      <a:pt x="10800" y="21600"/>
                    </a:cubicBezTo>
                    <a:cubicBezTo>
                      <a:pt x="4835" y="21600"/>
                      <a:pt x="0" y="16765"/>
                      <a:pt x="0" y="10800"/>
                    </a:cubicBezTo>
                    <a:close/>
                    <a:moveTo>
                      <a:pt x="5400" y="10800"/>
                    </a:moveTo>
                    <a:cubicBezTo>
                      <a:pt x="5400" y="13782"/>
                      <a:pt x="7818" y="16200"/>
                      <a:pt x="10800" y="16200"/>
                    </a:cubicBezTo>
                    <a:cubicBezTo>
                      <a:pt x="13782" y="16200"/>
                      <a:pt x="16200" y="13782"/>
                      <a:pt x="16200" y="10800"/>
                    </a:cubicBezTo>
                    <a:cubicBezTo>
                      <a:pt x="16200" y="7818"/>
                      <a:pt x="13782" y="5400"/>
                      <a:pt x="10800" y="5400"/>
                    </a:cubicBezTo>
                    <a:cubicBezTo>
                      <a:pt x="7818" y="5400"/>
                      <a:pt x="5400" y="7818"/>
                      <a:pt x="5400" y="10800"/>
                    </a:cubicBezTo>
                    <a:close/>
                  </a:path>
                </a:pathLst>
              </a:custGeom>
              <a:grpFill/>
              <a:ln w="12700" cap="flat" cmpd="sng">
                <a:solidFill>
                  <a:schemeClr val="accent1"/>
                </a:solidFill>
                <a:bevel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" name="椭圆 63">
                <a:extLst>
                  <a:ext uri="{FF2B5EF4-FFF2-40B4-BE49-F238E27FC236}">
                    <a16:creationId xmlns:a16="http://schemas.microsoft.com/office/drawing/2014/main" id="{8A86D72A-E6E7-4CFA-B375-3892718E6AFE}"/>
                  </a:ext>
                </a:extLst>
              </p:cNvPr>
              <p:cNvSpPr/>
              <p:nvPr/>
            </p:nvSpPr>
            <p:spPr bwMode="auto">
              <a:xfrm>
                <a:off x="129075" y="39150"/>
                <a:ext cx="180000" cy="36000"/>
              </a:xfrm>
              <a:prstGeom prst="ellipse">
                <a:avLst/>
              </a:prstGeom>
              <a:grpFill/>
              <a:ln w="12700" cap="flat" cmpd="sng">
                <a:solidFill>
                  <a:schemeClr val="accent1"/>
                </a:solidFill>
                <a:bevel/>
                <a:headEnd/>
                <a:tailEnd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3C4CAFF7-DBB0-48EB-B4A5-C9674E108A10}"/>
                </a:ext>
              </a:extLst>
            </p:cNvPr>
            <p:cNvCxnSpPr>
              <a:cxnSpLocks noChangeShapeType="1"/>
              <a:stCxn id="75" idx="6"/>
              <a:endCxn id="73" idx="2"/>
            </p:cNvCxnSpPr>
            <p:nvPr/>
          </p:nvCxnSpPr>
          <p:spPr bwMode="auto">
            <a:xfrm flipV="1">
              <a:off x="1176221" y="5739993"/>
              <a:ext cx="535662" cy="28470"/>
            </a:xfrm>
            <a:prstGeom prst="line">
              <a:avLst/>
            </a:prstGeom>
            <a:noFill/>
            <a:ln w="12700" cap="flat" cmpd="sng">
              <a:solidFill>
                <a:schemeClr val="accent1"/>
              </a:solidFill>
              <a:bevel/>
              <a:headEnd/>
              <a:tailEnd/>
            </a:ln>
          </p:spPr>
        </p:cxn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CF7CF5FA-D2B8-4A4B-8AC5-F795966F9D17}"/>
                </a:ext>
              </a:extLst>
            </p:cNvPr>
            <p:cNvCxnSpPr>
              <a:cxnSpLocks noChangeShapeType="1"/>
              <a:stCxn id="73" idx="5"/>
              <a:endCxn id="71" idx="1"/>
            </p:cNvCxnSpPr>
            <p:nvPr/>
          </p:nvCxnSpPr>
          <p:spPr bwMode="auto">
            <a:xfrm>
              <a:off x="1985024" y="5769379"/>
              <a:ext cx="296324" cy="131038"/>
            </a:xfrm>
            <a:prstGeom prst="line">
              <a:avLst/>
            </a:prstGeom>
            <a:noFill/>
            <a:ln w="12700" cap="flat" cmpd="sng">
              <a:solidFill>
                <a:schemeClr val="accent1"/>
              </a:solidFill>
              <a:bevel/>
              <a:headEnd/>
              <a:tailEnd/>
            </a:ln>
          </p:spPr>
        </p:cxnSp>
        <p:sp>
          <p:nvSpPr>
            <p:cNvPr id="15" name="直接连接符 14">
              <a:extLst>
                <a:ext uri="{FF2B5EF4-FFF2-40B4-BE49-F238E27FC236}">
                  <a16:creationId xmlns:a16="http://schemas.microsoft.com/office/drawing/2014/main" id="{76A3D90D-2066-4EC9-93BE-E62D32EACC7E}"/>
                </a:ext>
              </a:extLst>
            </p:cNvPr>
            <p:cNvSpPr/>
            <p:nvPr/>
          </p:nvSpPr>
          <p:spPr bwMode="auto">
            <a:xfrm flipV="1">
              <a:off x="2543203" y="5821711"/>
              <a:ext cx="406377" cy="78705"/>
            </a:xfrm>
            <a:prstGeom prst="line">
              <a:avLst/>
            </a:prstGeom>
            <a:noFill/>
            <a:ln w="12700" cap="flat" cmpd="sng">
              <a:solidFill>
                <a:schemeClr val="accent1"/>
              </a:solidFill>
              <a:bevel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直接连接符 15">
              <a:extLst>
                <a:ext uri="{FF2B5EF4-FFF2-40B4-BE49-F238E27FC236}">
                  <a16:creationId xmlns:a16="http://schemas.microsoft.com/office/drawing/2014/main" id="{5EBC62A1-FA28-4C34-9FAC-558D66A23B52}"/>
                </a:ext>
              </a:extLst>
            </p:cNvPr>
            <p:cNvSpPr/>
            <p:nvPr/>
          </p:nvSpPr>
          <p:spPr bwMode="auto">
            <a:xfrm>
              <a:off x="3175858" y="5821711"/>
              <a:ext cx="466398" cy="223307"/>
            </a:xfrm>
            <a:prstGeom prst="line">
              <a:avLst/>
            </a:prstGeom>
            <a:noFill/>
            <a:ln w="12700" cap="flat" cmpd="sng">
              <a:solidFill>
                <a:schemeClr val="accent1"/>
              </a:solidFill>
              <a:bevel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6D08B8DD-166B-4D09-895F-0C4D4FE4CBA0}"/>
                </a:ext>
              </a:extLst>
            </p:cNvPr>
            <p:cNvCxnSpPr>
              <a:cxnSpLocks noChangeShapeType="1"/>
              <a:stCxn id="67" idx="7"/>
              <a:endCxn id="63" idx="3"/>
            </p:cNvCxnSpPr>
            <p:nvPr/>
          </p:nvCxnSpPr>
          <p:spPr bwMode="auto">
            <a:xfrm flipV="1">
              <a:off x="3902573" y="5724481"/>
              <a:ext cx="875511" cy="308621"/>
            </a:xfrm>
            <a:prstGeom prst="line">
              <a:avLst/>
            </a:prstGeom>
            <a:noFill/>
            <a:ln w="12700" cap="flat" cmpd="sng">
              <a:solidFill>
                <a:schemeClr val="accent1"/>
              </a:solidFill>
              <a:bevel/>
              <a:headEnd/>
              <a:tailEnd/>
            </a:ln>
          </p:spPr>
        </p:cxnSp>
        <p:cxnSp>
          <p:nvCxnSpPr>
            <p:cNvPr id="18" name="直接连接符 17">
              <a:extLst>
                <a:ext uri="{FF2B5EF4-FFF2-40B4-BE49-F238E27FC236}">
                  <a16:creationId xmlns:a16="http://schemas.microsoft.com/office/drawing/2014/main" id="{91EF9F7C-5454-44A8-81CE-E34A60223ED0}"/>
                </a:ext>
              </a:extLst>
            </p:cNvPr>
            <p:cNvCxnSpPr>
              <a:cxnSpLocks noChangeShapeType="1"/>
              <a:stCxn id="63" idx="1"/>
              <a:endCxn id="65" idx="5"/>
            </p:cNvCxnSpPr>
            <p:nvPr/>
          </p:nvCxnSpPr>
          <p:spPr bwMode="auto">
            <a:xfrm flipH="1" flipV="1">
              <a:off x="4395654" y="5565936"/>
              <a:ext cx="382429" cy="99771"/>
            </a:xfrm>
            <a:prstGeom prst="line">
              <a:avLst/>
            </a:prstGeom>
            <a:noFill/>
            <a:ln w="12700" cap="flat" cmpd="sng">
              <a:solidFill>
                <a:schemeClr val="accent1"/>
              </a:solidFill>
              <a:bevel/>
              <a:headEnd/>
              <a:tailEnd/>
            </a:ln>
          </p:spPr>
        </p:cxnSp>
        <p:cxnSp>
          <p:nvCxnSpPr>
            <p:cNvPr id="19" name="直接连接符 18">
              <a:extLst>
                <a:ext uri="{FF2B5EF4-FFF2-40B4-BE49-F238E27FC236}">
                  <a16:creationId xmlns:a16="http://schemas.microsoft.com/office/drawing/2014/main" id="{040D4D5A-E269-4189-9FBF-B53C1713847F}"/>
                </a:ext>
              </a:extLst>
            </p:cNvPr>
            <p:cNvCxnSpPr>
              <a:cxnSpLocks noChangeShapeType="1"/>
              <a:stCxn id="69" idx="6"/>
              <a:endCxn id="63" idx="2"/>
            </p:cNvCxnSpPr>
            <p:nvPr/>
          </p:nvCxnSpPr>
          <p:spPr bwMode="auto">
            <a:xfrm flipV="1">
              <a:off x="3222722" y="5695095"/>
              <a:ext cx="1508496" cy="97231"/>
            </a:xfrm>
            <a:prstGeom prst="line">
              <a:avLst/>
            </a:prstGeom>
            <a:noFill/>
            <a:ln w="12700" cap="flat" cmpd="sng">
              <a:solidFill>
                <a:schemeClr val="accent1"/>
              </a:solidFill>
              <a:bevel/>
              <a:headEnd/>
              <a:tailEnd/>
            </a:ln>
          </p:spPr>
        </p:cxnSp>
        <p:sp>
          <p:nvSpPr>
            <p:cNvPr id="20" name="直接连接符 19">
              <a:extLst>
                <a:ext uri="{FF2B5EF4-FFF2-40B4-BE49-F238E27FC236}">
                  <a16:creationId xmlns:a16="http://schemas.microsoft.com/office/drawing/2014/main" id="{8FF35ADB-0334-4D8E-9780-565E7A27381B}"/>
                </a:ext>
              </a:extLst>
            </p:cNvPr>
            <p:cNvSpPr/>
            <p:nvPr/>
          </p:nvSpPr>
          <p:spPr bwMode="auto">
            <a:xfrm flipV="1">
              <a:off x="3811095" y="5574088"/>
              <a:ext cx="437556" cy="448795"/>
            </a:xfrm>
            <a:prstGeom prst="line">
              <a:avLst/>
            </a:prstGeom>
            <a:noFill/>
            <a:ln w="12700" cap="flat" cmpd="sng">
              <a:solidFill>
                <a:schemeClr val="accent1"/>
              </a:solidFill>
              <a:bevel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直接连接符 20">
              <a:extLst>
                <a:ext uri="{FF2B5EF4-FFF2-40B4-BE49-F238E27FC236}">
                  <a16:creationId xmlns:a16="http://schemas.microsoft.com/office/drawing/2014/main" id="{EB1CAA38-BC93-47C1-B747-C17E769D78DF}"/>
                </a:ext>
              </a:extLst>
            </p:cNvPr>
            <p:cNvSpPr/>
            <p:nvPr/>
          </p:nvSpPr>
          <p:spPr bwMode="auto">
            <a:xfrm flipV="1">
              <a:off x="1871275" y="4865026"/>
              <a:ext cx="1" cy="863133"/>
            </a:xfrm>
            <a:prstGeom prst="line">
              <a:avLst/>
            </a:prstGeom>
            <a:ln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椭圆 21">
              <a:extLst>
                <a:ext uri="{FF2B5EF4-FFF2-40B4-BE49-F238E27FC236}">
                  <a16:creationId xmlns:a16="http://schemas.microsoft.com/office/drawing/2014/main" id="{3C716770-C71E-42D7-8CCE-0959FB83F76C}"/>
                </a:ext>
              </a:extLst>
            </p:cNvPr>
            <p:cNvSpPr/>
            <p:nvPr/>
          </p:nvSpPr>
          <p:spPr bwMode="auto">
            <a:xfrm>
              <a:off x="1521619" y="4554469"/>
              <a:ext cx="698057" cy="694544"/>
            </a:xfrm>
            <a:prstGeom prst="ellipse">
              <a:avLst/>
            </a:prstGeom>
            <a:solidFill>
              <a:schemeClr val="accent3"/>
            </a:solidFill>
            <a:ln w="38100" cap="flat" cmpd="sng">
              <a:noFill/>
              <a:bevel/>
              <a:headEnd/>
              <a:tailEnd/>
            </a:ln>
            <a:effec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sz="900" b="1" dirty="0">
                  <a:solidFill>
                    <a:schemeClr val="bg1">
                      <a:lumMod val="100000"/>
                    </a:schemeClr>
                  </a:solidFill>
                </a:rPr>
                <a:t>Keyword</a:t>
              </a:r>
              <a:endParaRPr lang="zh-CN" altLang="en-US" sz="900" b="1" dirty="0">
                <a:solidFill>
                  <a:schemeClr val="bg1">
                    <a:lumMod val="100000"/>
                  </a:schemeClr>
                </a:solidFill>
              </a:endParaRPr>
            </a:p>
          </p:txBody>
        </p:sp>
        <p:sp>
          <p:nvSpPr>
            <p:cNvPr id="23" name="直接连接符 22">
              <a:extLst>
                <a:ext uri="{FF2B5EF4-FFF2-40B4-BE49-F238E27FC236}">
                  <a16:creationId xmlns:a16="http://schemas.microsoft.com/office/drawing/2014/main" id="{7AFF9E3B-79B8-4508-8360-AF10E2FA51DE}"/>
                </a:ext>
              </a:extLst>
            </p:cNvPr>
            <p:cNvSpPr/>
            <p:nvPr/>
          </p:nvSpPr>
          <p:spPr bwMode="auto">
            <a:xfrm flipV="1">
              <a:off x="1016237" y="4934687"/>
              <a:ext cx="1" cy="863870"/>
            </a:xfrm>
            <a:prstGeom prst="line">
              <a:avLst/>
            </a:prstGeom>
            <a:ln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椭圆 23">
              <a:extLst>
                <a:ext uri="{FF2B5EF4-FFF2-40B4-BE49-F238E27FC236}">
                  <a16:creationId xmlns:a16="http://schemas.microsoft.com/office/drawing/2014/main" id="{5E44D4A2-4C41-415A-8ADD-9B54B603C26F}"/>
                </a:ext>
              </a:extLst>
            </p:cNvPr>
            <p:cNvSpPr/>
            <p:nvPr/>
          </p:nvSpPr>
          <p:spPr bwMode="auto">
            <a:xfrm>
              <a:off x="677461" y="4323655"/>
              <a:ext cx="679502" cy="675491"/>
            </a:xfrm>
            <a:prstGeom prst="ellipse">
              <a:avLst/>
            </a:prstGeom>
            <a:solidFill>
              <a:schemeClr val="accent2"/>
            </a:solidFill>
            <a:ln w="38100" cap="flat" cmpd="sng">
              <a:noFill/>
              <a:bevel/>
              <a:headEnd/>
              <a:tailEnd/>
            </a:ln>
            <a:effec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sz="900" b="1" dirty="0">
                  <a:solidFill>
                    <a:schemeClr val="bg1">
                      <a:lumMod val="100000"/>
                    </a:schemeClr>
                  </a:solidFill>
                </a:rPr>
                <a:t>Keyword</a:t>
              </a:r>
              <a:endParaRPr lang="zh-CN" altLang="en-US" sz="900" b="1" dirty="0">
                <a:solidFill>
                  <a:schemeClr val="bg1">
                    <a:lumMod val="100000"/>
                  </a:schemeClr>
                </a:solidFill>
              </a:endParaRPr>
            </a:p>
          </p:txBody>
        </p:sp>
        <p:sp>
          <p:nvSpPr>
            <p:cNvPr id="25" name="直接连接符 24">
              <a:extLst>
                <a:ext uri="{FF2B5EF4-FFF2-40B4-BE49-F238E27FC236}">
                  <a16:creationId xmlns:a16="http://schemas.microsoft.com/office/drawing/2014/main" id="{BB6458EA-1514-4E8F-8AA8-A5A36E6DDA2E}"/>
                </a:ext>
              </a:extLst>
            </p:cNvPr>
            <p:cNvSpPr/>
            <p:nvPr/>
          </p:nvSpPr>
          <p:spPr bwMode="auto">
            <a:xfrm flipV="1">
              <a:off x="3060254" y="4490718"/>
              <a:ext cx="1" cy="1282448"/>
            </a:xfrm>
            <a:prstGeom prst="line">
              <a:avLst/>
            </a:prstGeom>
            <a:ln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椭圆 25">
              <a:extLst>
                <a:ext uri="{FF2B5EF4-FFF2-40B4-BE49-F238E27FC236}">
                  <a16:creationId xmlns:a16="http://schemas.microsoft.com/office/drawing/2014/main" id="{AE2B8E0E-D235-4A70-B8A1-5872C02B4759}"/>
                </a:ext>
              </a:extLst>
            </p:cNvPr>
            <p:cNvSpPr/>
            <p:nvPr/>
          </p:nvSpPr>
          <p:spPr bwMode="auto">
            <a:xfrm>
              <a:off x="2707851" y="4219787"/>
              <a:ext cx="698057" cy="694993"/>
            </a:xfrm>
            <a:prstGeom prst="ellipse">
              <a:avLst/>
            </a:prstGeom>
            <a:solidFill>
              <a:schemeClr val="accent3"/>
            </a:solidFill>
            <a:ln w="38100" cap="flat" cmpd="sng">
              <a:noFill/>
              <a:bevel/>
              <a:headEnd/>
              <a:tailEnd/>
            </a:ln>
            <a:effec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sz="900" b="1" dirty="0">
                  <a:solidFill>
                    <a:schemeClr val="bg1">
                      <a:lumMod val="100000"/>
                    </a:schemeClr>
                  </a:solidFill>
                </a:rPr>
                <a:t>Keyword</a:t>
              </a:r>
              <a:endParaRPr lang="zh-CN" altLang="en-US" sz="900" b="1" dirty="0">
                <a:solidFill>
                  <a:schemeClr val="bg1">
                    <a:lumMod val="100000"/>
                  </a:schemeClr>
                </a:solidFill>
              </a:endParaRPr>
            </a:p>
          </p:txBody>
        </p:sp>
        <p:sp>
          <p:nvSpPr>
            <p:cNvPr id="27" name="直接连接符 26">
              <a:extLst>
                <a:ext uri="{FF2B5EF4-FFF2-40B4-BE49-F238E27FC236}">
                  <a16:creationId xmlns:a16="http://schemas.microsoft.com/office/drawing/2014/main" id="{08409B9F-6C27-42D9-A20F-E144ADD5F948}"/>
                </a:ext>
              </a:extLst>
            </p:cNvPr>
            <p:cNvSpPr/>
            <p:nvPr/>
          </p:nvSpPr>
          <p:spPr bwMode="auto">
            <a:xfrm flipV="1">
              <a:off x="4891500" y="4304596"/>
              <a:ext cx="1" cy="1386633"/>
            </a:xfrm>
            <a:prstGeom prst="line">
              <a:avLst/>
            </a:prstGeom>
            <a:ln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" name="椭圆 27">
              <a:extLst>
                <a:ext uri="{FF2B5EF4-FFF2-40B4-BE49-F238E27FC236}">
                  <a16:creationId xmlns:a16="http://schemas.microsoft.com/office/drawing/2014/main" id="{79CC1912-E719-4EC2-B16E-5DE403184760}"/>
                </a:ext>
              </a:extLst>
            </p:cNvPr>
            <p:cNvSpPr/>
            <p:nvPr/>
          </p:nvSpPr>
          <p:spPr bwMode="auto">
            <a:xfrm>
              <a:off x="4529521" y="3729310"/>
              <a:ext cx="698057" cy="694739"/>
            </a:xfrm>
            <a:prstGeom prst="ellipse">
              <a:avLst/>
            </a:prstGeom>
            <a:solidFill>
              <a:schemeClr val="accent2"/>
            </a:solidFill>
            <a:ln w="38100" cap="flat" cmpd="sng">
              <a:noFill/>
              <a:bevel/>
              <a:headEnd/>
              <a:tailEnd/>
            </a:ln>
            <a:effec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sz="900" b="1" dirty="0">
                  <a:solidFill>
                    <a:schemeClr val="bg1">
                      <a:lumMod val="100000"/>
                    </a:schemeClr>
                  </a:solidFill>
                </a:rPr>
                <a:t>Keyword</a:t>
              </a:r>
              <a:endParaRPr lang="zh-CN" altLang="en-US" sz="900" b="1" dirty="0">
                <a:solidFill>
                  <a:schemeClr val="bg1">
                    <a:lumMod val="100000"/>
                  </a:schemeClr>
                </a:solidFill>
              </a:endParaRPr>
            </a:p>
          </p:txBody>
        </p:sp>
        <p:sp>
          <p:nvSpPr>
            <p:cNvPr id="29" name="直接连接符 28">
              <a:extLst>
                <a:ext uri="{FF2B5EF4-FFF2-40B4-BE49-F238E27FC236}">
                  <a16:creationId xmlns:a16="http://schemas.microsoft.com/office/drawing/2014/main" id="{BB2B9A93-BD1B-4A9E-BA18-F20B58C00EDE}"/>
                </a:ext>
              </a:extLst>
            </p:cNvPr>
            <p:cNvSpPr/>
            <p:nvPr/>
          </p:nvSpPr>
          <p:spPr bwMode="auto">
            <a:xfrm flipV="1">
              <a:off x="3723975" y="3958665"/>
              <a:ext cx="1" cy="2119175"/>
            </a:xfrm>
            <a:prstGeom prst="line">
              <a:avLst/>
            </a:prstGeom>
            <a:ln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椭圆 29">
              <a:extLst>
                <a:ext uri="{FF2B5EF4-FFF2-40B4-BE49-F238E27FC236}">
                  <a16:creationId xmlns:a16="http://schemas.microsoft.com/office/drawing/2014/main" id="{A50A49B8-A73D-4C17-9414-D75AC37A54D1}"/>
                </a:ext>
              </a:extLst>
            </p:cNvPr>
            <p:cNvSpPr/>
            <p:nvPr/>
          </p:nvSpPr>
          <p:spPr bwMode="auto">
            <a:xfrm>
              <a:off x="3314304" y="3226135"/>
              <a:ext cx="808215" cy="804570"/>
            </a:xfrm>
            <a:prstGeom prst="ellipse">
              <a:avLst/>
            </a:prstGeom>
            <a:solidFill>
              <a:schemeClr val="accent1"/>
            </a:solidFill>
            <a:ln w="38100" cap="flat" cmpd="sng">
              <a:noFill/>
              <a:bevel/>
              <a:headEnd/>
              <a:tailEnd/>
            </a:ln>
            <a:effec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sz="900" b="1" dirty="0">
                  <a:solidFill>
                    <a:schemeClr val="bg1">
                      <a:lumMod val="100000"/>
                    </a:schemeClr>
                  </a:solidFill>
                </a:rPr>
                <a:t>Keyword</a:t>
              </a:r>
              <a:endParaRPr lang="zh-CN" altLang="en-US" sz="900" b="1" dirty="0">
                <a:solidFill>
                  <a:schemeClr val="bg1">
                    <a:lumMod val="100000"/>
                  </a:schemeClr>
                </a:solidFill>
              </a:endParaRPr>
            </a:p>
          </p:txBody>
        </p:sp>
        <p:sp>
          <p:nvSpPr>
            <p:cNvPr id="31" name="直接连接符 30">
              <a:extLst>
                <a:ext uri="{FF2B5EF4-FFF2-40B4-BE49-F238E27FC236}">
                  <a16:creationId xmlns:a16="http://schemas.microsoft.com/office/drawing/2014/main" id="{A5282B6B-86CF-457A-8A70-3119A5586858}"/>
                </a:ext>
              </a:extLst>
            </p:cNvPr>
            <p:cNvSpPr/>
            <p:nvPr/>
          </p:nvSpPr>
          <p:spPr bwMode="auto">
            <a:xfrm flipV="1">
              <a:off x="2413496" y="3830343"/>
              <a:ext cx="1" cy="2092852"/>
            </a:xfrm>
            <a:prstGeom prst="line">
              <a:avLst/>
            </a:prstGeom>
            <a:ln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椭圆 31">
              <a:extLst>
                <a:ext uri="{FF2B5EF4-FFF2-40B4-BE49-F238E27FC236}">
                  <a16:creationId xmlns:a16="http://schemas.microsoft.com/office/drawing/2014/main" id="{42344D5A-2631-4F95-8AD4-536439020770}"/>
                </a:ext>
              </a:extLst>
            </p:cNvPr>
            <p:cNvSpPr/>
            <p:nvPr/>
          </p:nvSpPr>
          <p:spPr bwMode="auto">
            <a:xfrm>
              <a:off x="2072411" y="3721231"/>
              <a:ext cx="698057" cy="694680"/>
            </a:xfrm>
            <a:prstGeom prst="ellipse">
              <a:avLst/>
            </a:prstGeom>
            <a:solidFill>
              <a:schemeClr val="accent2"/>
            </a:solidFill>
            <a:ln w="38100" cap="flat" cmpd="sng">
              <a:noFill/>
              <a:bevel/>
              <a:headEnd/>
              <a:tailEnd/>
            </a:ln>
            <a:effec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sz="900" b="1" dirty="0">
                  <a:solidFill>
                    <a:schemeClr val="bg1">
                      <a:lumMod val="100000"/>
                    </a:schemeClr>
                  </a:solidFill>
                </a:rPr>
                <a:t>Keyword</a:t>
              </a:r>
              <a:endParaRPr lang="zh-CN" altLang="en-US" sz="900" b="1" dirty="0">
                <a:solidFill>
                  <a:schemeClr val="bg1">
                    <a:lumMod val="100000"/>
                  </a:schemeClr>
                </a:solidFill>
              </a:endParaRPr>
            </a:p>
          </p:txBody>
        </p:sp>
        <p:sp>
          <p:nvSpPr>
            <p:cNvPr id="33" name="直接连接符 32">
              <a:extLst>
                <a:ext uri="{FF2B5EF4-FFF2-40B4-BE49-F238E27FC236}">
                  <a16:creationId xmlns:a16="http://schemas.microsoft.com/office/drawing/2014/main" id="{324C5C9D-3703-43EF-BBBE-19335BC3A3B3}"/>
                </a:ext>
              </a:extLst>
            </p:cNvPr>
            <p:cNvSpPr/>
            <p:nvPr/>
          </p:nvSpPr>
          <p:spPr bwMode="auto">
            <a:xfrm flipV="1">
              <a:off x="4279287" y="4825228"/>
              <a:ext cx="1" cy="706739"/>
            </a:xfrm>
            <a:prstGeom prst="line">
              <a:avLst/>
            </a:prstGeom>
            <a:ln>
              <a:solidFill>
                <a:schemeClr val="accent1"/>
              </a:solidFill>
              <a:headEnd/>
              <a:tailEnd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椭圆 33">
              <a:extLst>
                <a:ext uri="{FF2B5EF4-FFF2-40B4-BE49-F238E27FC236}">
                  <a16:creationId xmlns:a16="http://schemas.microsoft.com/office/drawing/2014/main" id="{4E714AC5-8AAB-4D48-B901-3116964D45C8}"/>
                </a:ext>
              </a:extLst>
            </p:cNvPr>
            <p:cNvSpPr/>
            <p:nvPr/>
          </p:nvSpPr>
          <p:spPr bwMode="auto">
            <a:xfrm>
              <a:off x="3892923" y="4350199"/>
              <a:ext cx="764151" cy="759992"/>
            </a:xfrm>
            <a:prstGeom prst="ellipse">
              <a:avLst/>
            </a:prstGeom>
            <a:solidFill>
              <a:schemeClr val="accent3"/>
            </a:solidFill>
            <a:ln w="38100" cap="flat" cmpd="sng">
              <a:noFill/>
              <a:bevel/>
              <a:headEnd/>
              <a:tailEnd/>
            </a:ln>
            <a:effectLst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sz="900" b="1" dirty="0">
                  <a:solidFill>
                    <a:schemeClr val="bg1">
                      <a:lumMod val="100000"/>
                    </a:schemeClr>
                  </a:solidFill>
                </a:rPr>
                <a:t>Keyword</a:t>
              </a:r>
              <a:endParaRPr lang="zh-CN" altLang="en-US" sz="900" b="1" dirty="0">
                <a:solidFill>
                  <a:schemeClr val="bg1">
                    <a:lumMod val="100000"/>
                  </a:schemeClr>
                </a:solidFill>
              </a:endParaRP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5E300546-12FC-4968-987D-60E5CBF6804D}"/>
                </a:ext>
              </a:extLst>
            </p:cNvPr>
            <p:cNvSpPr txBox="1"/>
            <p:nvPr/>
          </p:nvSpPr>
          <p:spPr>
            <a:xfrm>
              <a:off x="698532" y="1166725"/>
              <a:ext cx="4677468" cy="1224136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normAutofit fontScale="85000" lnSpcReduction="10000"/>
            </a:bodyPr>
            <a:lstStyle/>
            <a:p>
              <a:pPr algn="just">
                <a:lnSpc>
                  <a:spcPct val="150000"/>
                </a:lnSpc>
              </a:pPr>
              <a:r>
                <a:rPr lang="en-US" altLang="zh-CN" sz="1400" dirty="0"/>
                <a:t>Unified fonts make reading more fluent.</a:t>
              </a:r>
            </a:p>
            <a:p>
              <a:pPr algn="just">
                <a:lnSpc>
                  <a:spcPct val="150000"/>
                </a:lnSpc>
              </a:pPr>
              <a:r>
                <a:rPr lang="en-US" altLang="zh-CN" sz="1700" b="1" dirty="0"/>
                <a:t>Theme color makes PPT more convenient to change.</a:t>
              </a:r>
            </a:p>
            <a:p>
              <a:pPr algn="just">
                <a:lnSpc>
                  <a:spcPct val="150000"/>
                </a:lnSpc>
              </a:pPr>
              <a:r>
                <a:rPr lang="en-US" altLang="zh-CN" sz="1400" dirty="0"/>
                <a:t>Adjust the spacing to adapt to Chinese typesetting, use the reference line in PPT.</a:t>
              </a:r>
              <a:endParaRPr lang="en-US" altLang="zh-CN" sz="1600" b="1" dirty="0"/>
            </a:p>
          </p:txBody>
        </p:sp>
        <p:cxnSp>
          <p:nvCxnSpPr>
            <p:cNvPr id="36" name="直接连接符 35">
              <a:extLst>
                <a:ext uri="{FF2B5EF4-FFF2-40B4-BE49-F238E27FC236}">
                  <a16:creationId xmlns:a16="http://schemas.microsoft.com/office/drawing/2014/main" id="{B1F5C7BD-5CD4-4890-B81F-C67D49FFA242}"/>
                </a:ext>
              </a:extLst>
            </p:cNvPr>
            <p:cNvCxnSpPr>
              <a:cxnSpLocks/>
            </p:cNvCxnSpPr>
            <p:nvPr/>
          </p:nvCxnSpPr>
          <p:spPr>
            <a:xfrm>
              <a:off x="754748" y="2529000"/>
              <a:ext cx="4531252" cy="0"/>
            </a:xfrm>
            <a:prstGeom prst="line">
              <a:avLst/>
            </a:prstGeom>
            <a:ln w="9525" cap="rnd">
              <a:solidFill>
                <a:schemeClr val="tx1">
                  <a:lumMod val="50000"/>
                  <a:lumOff val="50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7" name="组合 36">
              <a:extLst>
                <a:ext uri="{FF2B5EF4-FFF2-40B4-BE49-F238E27FC236}">
                  <a16:creationId xmlns:a16="http://schemas.microsoft.com/office/drawing/2014/main" id="{6BB0EE99-BDA4-411C-BCDA-0260651720B9}"/>
                </a:ext>
              </a:extLst>
            </p:cNvPr>
            <p:cNvGrpSpPr/>
            <p:nvPr/>
          </p:nvGrpSpPr>
          <p:grpSpPr>
            <a:xfrm>
              <a:off x="6186000" y="1314000"/>
              <a:ext cx="1387748" cy="1253331"/>
              <a:chOff x="5194562" y="1494000"/>
              <a:chExt cx="1387748" cy="1253331"/>
            </a:xfrm>
          </p:grpSpPr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071ED537-0508-4023-BECE-6FE47F1FEA83}"/>
                  </a:ext>
                </a:extLst>
              </p:cNvPr>
              <p:cNvSpPr/>
              <p:nvPr/>
            </p:nvSpPr>
            <p:spPr bwMode="auto">
              <a:xfrm>
                <a:off x="5584373" y="2635260"/>
                <a:ext cx="775562" cy="112071"/>
              </a:xfrm>
              <a:custGeom>
                <a:avLst/>
                <a:gdLst>
                  <a:gd name="T0" fmla="+- 0 10800 961"/>
                  <a:gd name="T1" fmla="*/ T0 w 19679"/>
                  <a:gd name="T2" fmla="+- 0 10800 961"/>
                  <a:gd name="T3" fmla="*/ 10800 h 19679"/>
                  <a:gd name="T4" fmla="+- 0 10800 961"/>
                  <a:gd name="T5" fmla="*/ T4 w 19679"/>
                  <a:gd name="T6" fmla="+- 0 10800 961"/>
                  <a:gd name="T7" fmla="*/ 10800 h 19679"/>
                  <a:gd name="T8" fmla="+- 0 10800 961"/>
                  <a:gd name="T9" fmla="*/ T8 w 19679"/>
                  <a:gd name="T10" fmla="+- 0 10800 961"/>
                  <a:gd name="T11" fmla="*/ 10800 h 19679"/>
                  <a:gd name="T12" fmla="+- 0 10800 961"/>
                  <a:gd name="T13" fmla="*/ T12 w 19679"/>
                  <a:gd name="T14" fmla="+- 0 10800 961"/>
                  <a:gd name="T15" fmla="*/ 10800 h 19679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19679" h="19679">
                    <a:moveTo>
                      <a:pt x="16796" y="2881"/>
                    </a:moveTo>
                    <a:cubicBezTo>
                      <a:pt x="20639" y="6724"/>
                      <a:pt x="20639" y="12953"/>
                      <a:pt x="16796" y="16796"/>
                    </a:cubicBezTo>
                    <a:cubicBezTo>
                      <a:pt x="12953" y="20638"/>
                      <a:pt x="6724" y="20638"/>
                      <a:pt x="2881" y="16796"/>
                    </a:cubicBezTo>
                    <a:cubicBezTo>
                      <a:pt x="-961" y="12953"/>
                      <a:pt x="-961" y="6724"/>
                      <a:pt x="2881" y="2881"/>
                    </a:cubicBezTo>
                    <a:cubicBezTo>
                      <a:pt x="6724" y="-961"/>
                      <a:pt x="12953" y="-961"/>
                      <a:pt x="16796" y="2881"/>
                    </a:cubicBezTo>
                    <a:close/>
                  </a:path>
                </a:pathLst>
              </a:custGeom>
              <a:solidFill>
                <a:srgbClr val="53585F">
                  <a:alpha val="2688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" name="椭圆 58">
                <a:extLst>
                  <a:ext uri="{FF2B5EF4-FFF2-40B4-BE49-F238E27FC236}">
                    <a16:creationId xmlns:a16="http://schemas.microsoft.com/office/drawing/2014/main" id="{04C5801A-23A8-4890-A2A7-418581522DE7}"/>
                  </a:ext>
                </a:extLst>
              </p:cNvPr>
              <p:cNvSpPr/>
              <p:nvPr/>
            </p:nvSpPr>
            <p:spPr bwMode="auto">
              <a:xfrm>
                <a:off x="5194562" y="1580931"/>
                <a:ext cx="1166400" cy="1166400"/>
              </a:xfrm>
              <a:prstGeom prst="ellipse">
                <a:avLst/>
              </a:prstGeom>
              <a:blipFill>
                <a:blip r:embed="rId2"/>
                <a:stretch>
                  <a:fillRect l="-39312" r="-38466"/>
                </a:stretch>
              </a:blip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zh-CN" alt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60" name="组合 59">
                <a:extLst>
                  <a:ext uri="{FF2B5EF4-FFF2-40B4-BE49-F238E27FC236}">
                    <a16:creationId xmlns:a16="http://schemas.microsoft.com/office/drawing/2014/main" id="{742C24FE-D2DB-462F-A0A6-9167BC9711F0}"/>
                  </a:ext>
                </a:extLst>
              </p:cNvPr>
              <p:cNvGrpSpPr/>
              <p:nvPr/>
            </p:nvGrpSpPr>
            <p:grpSpPr>
              <a:xfrm>
                <a:off x="6042310" y="1494000"/>
                <a:ext cx="540000" cy="540000"/>
                <a:chOff x="824229" y="5280877"/>
                <a:chExt cx="347557" cy="347557"/>
              </a:xfrm>
              <a:solidFill>
                <a:schemeClr val="accent1"/>
              </a:solidFill>
            </p:grpSpPr>
            <p:sp>
              <p:nvSpPr>
                <p:cNvPr id="61" name="椭圆 60">
                  <a:extLst>
                    <a:ext uri="{FF2B5EF4-FFF2-40B4-BE49-F238E27FC236}">
                      <a16:creationId xmlns:a16="http://schemas.microsoft.com/office/drawing/2014/main" id="{4FBA4344-3C0E-47DD-9F2F-DAB1D520E0CC}"/>
                    </a:ext>
                  </a:extLst>
                </p:cNvPr>
                <p:cNvSpPr/>
                <p:nvPr/>
              </p:nvSpPr>
              <p:spPr>
                <a:xfrm>
                  <a:off x="824229" y="5280877"/>
                  <a:ext cx="347557" cy="347557"/>
                </a:xfrm>
                <a:prstGeom prst="ellipse">
                  <a:avLst/>
                </a:prstGeom>
                <a:solidFill>
                  <a:schemeClr val="accent1"/>
                </a:solidFill>
                <a:ln w="38100">
                  <a:solidFill>
                    <a:schemeClr val="bg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dirty="0"/>
                </a:p>
              </p:txBody>
            </p:sp>
            <p:sp>
              <p:nvSpPr>
                <p:cNvPr id="62" name="任意多边形: 形状 61">
                  <a:extLst>
                    <a:ext uri="{FF2B5EF4-FFF2-40B4-BE49-F238E27FC236}">
                      <a16:creationId xmlns:a16="http://schemas.microsoft.com/office/drawing/2014/main" id="{8CDD152F-C043-4013-B6D3-041317660822}"/>
                    </a:ext>
                  </a:extLst>
                </p:cNvPr>
                <p:cNvSpPr/>
                <p:nvPr/>
              </p:nvSpPr>
              <p:spPr>
                <a:xfrm>
                  <a:off x="911682" y="5372326"/>
                  <a:ext cx="172652" cy="164657"/>
                </a:xfrm>
                <a:custGeom>
                  <a:avLst/>
                  <a:gdLst>
                    <a:gd name="connsiteX0" fmla="*/ 315778 w 607639"/>
                    <a:gd name="connsiteY0" fmla="*/ 173080 h 579502"/>
                    <a:gd name="connsiteX1" fmla="*/ 315778 w 607639"/>
                    <a:gd name="connsiteY1" fmla="*/ 266058 h 579502"/>
                    <a:gd name="connsiteX2" fmla="*/ 303493 w 607639"/>
                    <a:gd name="connsiteY2" fmla="*/ 278325 h 579502"/>
                    <a:gd name="connsiteX3" fmla="*/ 210375 w 607639"/>
                    <a:gd name="connsiteY3" fmla="*/ 278325 h 579502"/>
                    <a:gd name="connsiteX4" fmla="*/ 303493 w 607639"/>
                    <a:gd name="connsiteY4" fmla="*/ 359925 h 579502"/>
                    <a:gd name="connsiteX5" fmla="*/ 397500 w 607639"/>
                    <a:gd name="connsiteY5" fmla="*/ 266058 h 579502"/>
                    <a:gd name="connsiteX6" fmla="*/ 315778 w 607639"/>
                    <a:gd name="connsiteY6" fmla="*/ 173080 h 579502"/>
                    <a:gd name="connsiteX7" fmla="*/ 249814 w 607639"/>
                    <a:gd name="connsiteY7" fmla="*/ 160816 h 579502"/>
                    <a:gd name="connsiteX8" fmla="*/ 198110 w 607639"/>
                    <a:gd name="connsiteY8" fmla="*/ 212449 h 579502"/>
                    <a:gd name="connsiteX9" fmla="*/ 249814 w 607639"/>
                    <a:gd name="connsiteY9" fmla="*/ 212449 h 579502"/>
                    <a:gd name="connsiteX10" fmla="*/ 303493 w 607639"/>
                    <a:gd name="connsiteY10" fmla="*/ 147835 h 579502"/>
                    <a:gd name="connsiteX11" fmla="*/ 421981 w 607639"/>
                    <a:gd name="connsiteY11" fmla="*/ 266058 h 579502"/>
                    <a:gd name="connsiteX12" fmla="*/ 303493 w 607639"/>
                    <a:gd name="connsiteY12" fmla="*/ 384370 h 579502"/>
                    <a:gd name="connsiteX13" fmla="*/ 185093 w 607639"/>
                    <a:gd name="connsiteY13" fmla="*/ 266058 h 579502"/>
                    <a:gd name="connsiteX14" fmla="*/ 197289 w 607639"/>
                    <a:gd name="connsiteY14" fmla="*/ 253880 h 579502"/>
                    <a:gd name="connsiteX15" fmla="*/ 291297 w 607639"/>
                    <a:gd name="connsiteY15" fmla="*/ 253880 h 579502"/>
                    <a:gd name="connsiteX16" fmla="*/ 291297 w 607639"/>
                    <a:gd name="connsiteY16" fmla="*/ 160013 h 579502"/>
                    <a:gd name="connsiteX17" fmla="*/ 303493 w 607639"/>
                    <a:gd name="connsiteY17" fmla="*/ 147835 h 579502"/>
                    <a:gd name="connsiteX18" fmla="*/ 262095 w 607639"/>
                    <a:gd name="connsiteY18" fmla="*/ 135133 h 579502"/>
                    <a:gd name="connsiteX19" fmla="*/ 274287 w 607639"/>
                    <a:gd name="connsiteY19" fmla="*/ 147397 h 579502"/>
                    <a:gd name="connsiteX20" fmla="*/ 274287 w 607639"/>
                    <a:gd name="connsiteY20" fmla="*/ 224713 h 579502"/>
                    <a:gd name="connsiteX21" fmla="*/ 262095 w 607639"/>
                    <a:gd name="connsiteY21" fmla="*/ 236888 h 579502"/>
                    <a:gd name="connsiteX22" fmla="*/ 184672 w 607639"/>
                    <a:gd name="connsiteY22" fmla="*/ 236888 h 579502"/>
                    <a:gd name="connsiteX23" fmla="*/ 172391 w 607639"/>
                    <a:gd name="connsiteY23" fmla="*/ 224713 h 579502"/>
                    <a:gd name="connsiteX24" fmla="*/ 262095 w 607639"/>
                    <a:gd name="connsiteY24" fmla="*/ 135133 h 579502"/>
                    <a:gd name="connsiteX25" fmla="*/ 58120 w 607639"/>
                    <a:gd name="connsiteY25" fmla="*/ 108514 h 579502"/>
                    <a:gd name="connsiteX26" fmla="*/ 58120 w 607639"/>
                    <a:gd name="connsiteY26" fmla="*/ 413970 h 579502"/>
                    <a:gd name="connsiteX27" fmla="*/ 549430 w 607639"/>
                    <a:gd name="connsiteY27" fmla="*/ 413970 h 579502"/>
                    <a:gd name="connsiteX28" fmla="*/ 549430 w 607639"/>
                    <a:gd name="connsiteY28" fmla="*/ 108514 h 579502"/>
                    <a:gd name="connsiteX29" fmla="*/ 27236 w 607639"/>
                    <a:gd name="connsiteY29" fmla="*/ 56079 h 579502"/>
                    <a:gd name="connsiteX30" fmla="*/ 27236 w 607639"/>
                    <a:gd name="connsiteY30" fmla="*/ 81319 h 579502"/>
                    <a:gd name="connsiteX31" fmla="*/ 580403 w 607639"/>
                    <a:gd name="connsiteY31" fmla="*/ 81319 h 579502"/>
                    <a:gd name="connsiteX32" fmla="*/ 580403 w 607639"/>
                    <a:gd name="connsiteY32" fmla="*/ 56079 h 579502"/>
                    <a:gd name="connsiteX33" fmla="*/ 303775 w 607639"/>
                    <a:gd name="connsiteY33" fmla="*/ 0 h 579502"/>
                    <a:gd name="connsiteX34" fmla="*/ 317393 w 607639"/>
                    <a:gd name="connsiteY34" fmla="*/ 13597 h 579502"/>
                    <a:gd name="connsiteX35" fmla="*/ 317393 w 607639"/>
                    <a:gd name="connsiteY35" fmla="*/ 28884 h 579502"/>
                    <a:gd name="connsiteX36" fmla="*/ 580403 w 607639"/>
                    <a:gd name="connsiteY36" fmla="*/ 28884 h 579502"/>
                    <a:gd name="connsiteX37" fmla="*/ 607639 w 607639"/>
                    <a:gd name="connsiteY37" fmla="*/ 56079 h 579502"/>
                    <a:gd name="connsiteX38" fmla="*/ 607639 w 607639"/>
                    <a:gd name="connsiteY38" fmla="*/ 81319 h 579502"/>
                    <a:gd name="connsiteX39" fmla="*/ 580403 w 607639"/>
                    <a:gd name="connsiteY39" fmla="*/ 108514 h 579502"/>
                    <a:gd name="connsiteX40" fmla="*/ 576665 w 607639"/>
                    <a:gd name="connsiteY40" fmla="*/ 108514 h 579502"/>
                    <a:gd name="connsiteX41" fmla="*/ 576665 w 607639"/>
                    <a:gd name="connsiteY41" fmla="*/ 413970 h 579502"/>
                    <a:gd name="connsiteX42" fmla="*/ 549430 w 607639"/>
                    <a:gd name="connsiteY42" fmla="*/ 441165 h 579502"/>
                    <a:gd name="connsiteX43" fmla="*/ 317393 w 607639"/>
                    <a:gd name="connsiteY43" fmla="*/ 441165 h 579502"/>
                    <a:gd name="connsiteX44" fmla="*/ 317393 w 607639"/>
                    <a:gd name="connsiteY44" fmla="*/ 481069 h 579502"/>
                    <a:gd name="connsiteX45" fmla="*/ 418236 w 607639"/>
                    <a:gd name="connsiteY45" fmla="*/ 554923 h 579502"/>
                    <a:gd name="connsiteX46" fmla="*/ 421173 w 607639"/>
                    <a:gd name="connsiteY46" fmla="*/ 573942 h 579502"/>
                    <a:gd name="connsiteX47" fmla="*/ 410225 w 607639"/>
                    <a:gd name="connsiteY47" fmla="*/ 579452 h 579502"/>
                    <a:gd name="connsiteX48" fmla="*/ 402215 w 607639"/>
                    <a:gd name="connsiteY48" fmla="*/ 576874 h 579502"/>
                    <a:gd name="connsiteX49" fmla="*/ 317393 w 607639"/>
                    <a:gd name="connsiteY49" fmla="*/ 514752 h 579502"/>
                    <a:gd name="connsiteX50" fmla="*/ 317393 w 607639"/>
                    <a:gd name="connsiteY50" fmla="*/ 565854 h 579502"/>
                    <a:gd name="connsiteX51" fmla="*/ 303775 w 607639"/>
                    <a:gd name="connsiteY51" fmla="*/ 579452 h 579502"/>
                    <a:gd name="connsiteX52" fmla="*/ 290157 w 607639"/>
                    <a:gd name="connsiteY52" fmla="*/ 565854 h 579502"/>
                    <a:gd name="connsiteX53" fmla="*/ 290157 w 607639"/>
                    <a:gd name="connsiteY53" fmla="*/ 514752 h 579502"/>
                    <a:gd name="connsiteX54" fmla="*/ 205424 w 607639"/>
                    <a:gd name="connsiteY54" fmla="*/ 576874 h 579502"/>
                    <a:gd name="connsiteX55" fmla="*/ 186377 w 607639"/>
                    <a:gd name="connsiteY55" fmla="*/ 573942 h 579502"/>
                    <a:gd name="connsiteX56" fmla="*/ 189314 w 607639"/>
                    <a:gd name="connsiteY56" fmla="*/ 554923 h 579502"/>
                    <a:gd name="connsiteX57" fmla="*/ 290157 w 607639"/>
                    <a:gd name="connsiteY57" fmla="*/ 481069 h 579502"/>
                    <a:gd name="connsiteX58" fmla="*/ 290157 w 607639"/>
                    <a:gd name="connsiteY58" fmla="*/ 441165 h 579502"/>
                    <a:gd name="connsiteX59" fmla="*/ 58120 w 607639"/>
                    <a:gd name="connsiteY59" fmla="*/ 441165 h 579502"/>
                    <a:gd name="connsiteX60" fmla="*/ 30885 w 607639"/>
                    <a:gd name="connsiteY60" fmla="*/ 413970 h 579502"/>
                    <a:gd name="connsiteX61" fmla="*/ 30885 w 607639"/>
                    <a:gd name="connsiteY61" fmla="*/ 108514 h 579502"/>
                    <a:gd name="connsiteX62" fmla="*/ 27236 w 607639"/>
                    <a:gd name="connsiteY62" fmla="*/ 108514 h 579502"/>
                    <a:gd name="connsiteX63" fmla="*/ 0 w 607639"/>
                    <a:gd name="connsiteY63" fmla="*/ 81319 h 579502"/>
                    <a:gd name="connsiteX64" fmla="*/ 0 w 607639"/>
                    <a:gd name="connsiteY64" fmla="*/ 56079 h 579502"/>
                    <a:gd name="connsiteX65" fmla="*/ 27236 w 607639"/>
                    <a:gd name="connsiteY65" fmla="*/ 28884 h 579502"/>
                    <a:gd name="connsiteX66" fmla="*/ 290157 w 607639"/>
                    <a:gd name="connsiteY66" fmla="*/ 28884 h 579502"/>
                    <a:gd name="connsiteX67" fmla="*/ 290157 w 607639"/>
                    <a:gd name="connsiteY67" fmla="*/ 13597 h 579502"/>
                    <a:gd name="connsiteX68" fmla="*/ 303775 w 607639"/>
                    <a:gd name="connsiteY68" fmla="*/ 0 h 579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</a:cxnLst>
                  <a:rect l="l" t="t" r="r" b="b"/>
                  <a:pathLst>
                    <a:path w="607639" h="579502">
                      <a:moveTo>
                        <a:pt x="315778" y="173080"/>
                      </a:moveTo>
                      <a:lnTo>
                        <a:pt x="315778" y="266058"/>
                      </a:lnTo>
                      <a:cubicBezTo>
                        <a:pt x="315778" y="272814"/>
                        <a:pt x="310258" y="278325"/>
                        <a:pt x="303493" y="278325"/>
                      </a:cubicBezTo>
                      <a:lnTo>
                        <a:pt x="210375" y="278325"/>
                      </a:lnTo>
                      <a:cubicBezTo>
                        <a:pt x="216429" y="324281"/>
                        <a:pt x="255866" y="359925"/>
                        <a:pt x="303493" y="359925"/>
                      </a:cubicBezTo>
                      <a:cubicBezTo>
                        <a:pt x="355303" y="359925"/>
                        <a:pt x="397500" y="317792"/>
                        <a:pt x="397500" y="266058"/>
                      </a:cubicBezTo>
                      <a:cubicBezTo>
                        <a:pt x="397500" y="218502"/>
                        <a:pt x="361802" y="179124"/>
                        <a:pt x="315778" y="173080"/>
                      </a:cubicBezTo>
                      <a:close/>
                      <a:moveTo>
                        <a:pt x="249814" y="160816"/>
                      </a:moveTo>
                      <a:cubicBezTo>
                        <a:pt x="223740" y="165793"/>
                        <a:pt x="203093" y="186410"/>
                        <a:pt x="198110" y="212449"/>
                      </a:cubicBezTo>
                      <a:lnTo>
                        <a:pt x="249814" y="212449"/>
                      </a:lnTo>
                      <a:close/>
                      <a:moveTo>
                        <a:pt x="303493" y="147835"/>
                      </a:moveTo>
                      <a:cubicBezTo>
                        <a:pt x="368835" y="147835"/>
                        <a:pt x="421981" y="200902"/>
                        <a:pt x="421981" y="266058"/>
                      </a:cubicBezTo>
                      <a:cubicBezTo>
                        <a:pt x="421981" y="331303"/>
                        <a:pt x="368835" y="384370"/>
                        <a:pt x="303493" y="384370"/>
                      </a:cubicBezTo>
                      <a:cubicBezTo>
                        <a:pt x="238239" y="384370"/>
                        <a:pt x="185093" y="331303"/>
                        <a:pt x="185093" y="266058"/>
                      </a:cubicBezTo>
                      <a:cubicBezTo>
                        <a:pt x="185093" y="259303"/>
                        <a:pt x="190523" y="253880"/>
                        <a:pt x="197289" y="253880"/>
                      </a:cubicBezTo>
                      <a:lnTo>
                        <a:pt x="291297" y="253880"/>
                      </a:lnTo>
                      <a:lnTo>
                        <a:pt x="291297" y="160013"/>
                      </a:lnTo>
                      <a:cubicBezTo>
                        <a:pt x="291297" y="153257"/>
                        <a:pt x="296727" y="147835"/>
                        <a:pt x="303493" y="147835"/>
                      </a:cubicBezTo>
                      <a:close/>
                      <a:moveTo>
                        <a:pt x="262095" y="135133"/>
                      </a:moveTo>
                      <a:cubicBezTo>
                        <a:pt x="268859" y="135133"/>
                        <a:pt x="274287" y="140643"/>
                        <a:pt x="274287" y="147397"/>
                      </a:cubicBezTo>
                      <a:lnTo>
                        <a:pt x="274287" y="224713"/>
                      </a:lnTo>
                      <a:cubicBezTo>
                        <a:pt x="274287" y="231467"/>
                        <a:pt x="268859" y="236888"/>
                        <a:pt x="262095" y="236888"/>
                      </a:cubicBezTo>
                      <a:lnTo>
                        <a:pt x="184672" y="236888"/>
                      </a:lnTo>
                      <a:cubicBezTo>
                        <a:pt x="177909" y="236888"/>
                        <a:pt x="172391" y="231467"/>
                        <a:pt x="172391" y="224713"/>
                      </a:cubicBezTo>
                      <a:cubicBezTo>
                        <a:pt x="172391" y="175302"/>
                        <a:pt x="212616" y="135133"/>
                        <a:pt x="262095" y="135133"/>
                      </a:cubicBezTo>
                      <a:close/>
                      <a:moveTo>
                        <a:pt x="58120" y="108514"/>
                      </a:moveTo>
                      <a:lnTo>
                        <a:pt x="58120" y="413970"/>
                      </a:lnTo>
                      <a:lnTo>
                        <a:pt x="549430" y="413970"/>
                      </a:lnTo>
                      <a:lnTo>
                        <a:pt x="549430" y="108514"/>
                      </a:lnTo>
                      <a:close/>
                      <a:moveTo>
                        <a:pt x="27236" y="56079"/>
                      </a:moveTo>
                      <a:lnTo>
                        <a:pt x="27236" y="81319"/>
                      </a:lnTo>
                      <a:lnTo>
                        <a:pt x="580403" y="81319"/>
                      </a:lnTo>
                      <a:lnTo>
                        <a:pt x="580403" y="56079"/>
                      </a:lnTo>
                      <a:close/>
                      <a:moveTo>
                        <a:pt x="303775" y="0"/>
                      </a:moveTo>
                      <a:cubicBezTo>
                        <a:pt x="311341" y="0"/>
                        <a:pt x="317393" y="6132"/>
                        <a:pt x="317393" y="13597"/>
                      </a:cubicBezTo>
                      <a:lnTo>
                        <a:pt x="317393" y="28884"/>
                      </a:lnTo>
                      <a:lnTo>
                        <a:pt x="580403" y="28884"/>
                      </a:lnTo>
                      <a:cubicBezTo>
                        <a:pt x="595356" y="28884"/>
                        <a:pt x="607639" y="41148"/>
                        <a:pt x="607639" y="56079"/>
                      </a:cubicBezTo>
                      <a:lnTo>
                        <a:pt x="607639" y="81319"/>
                      </a:lnTo>
                      <a:cubicBezTo>
                        <a:pt x="607639" y="96338"/>
                        <a:pt x="595356" y="108514"/>
                        <a:pt x="580403" y="108514"/>
                      </a:cubicBezTo>
                      <a:lnTo>
                        <a:pt x="576665" y="108514"/>
                      </a:lnTo>
                      <a:lnTo>
                        <a:pt x="576665" y="413970"/>
                      </a:lnTo>
                      <a:cubicBezTo>
                        <a:pt x="576665" y="428990"/>
                        <a:pt x="564472" y="441165"/>
                        <a:pt x="549430" y="441165"/>
                      </a:cubicBezTo>
                      <a:lnTo>
                        <a:pt x="317393" y="441165"/>
                      </a:lnTo>
                      <a:lnTo>
                        <a:pt x="317393" y="481069"/>
                      </a:lnTo>
                      <a:lnTo>
                        <a:pt x="418236" y="554923"/>
                      </a:lnTo>
                      <a:cubicBezTo>
                        <a:pt x="424377" y="559366"/>
                        <a:pt x="425623" y="567898"/>
                        <a:pt x="421173" y="573942"/>
                      </a:cubicBezTo>
                      <a:cubicBezTo>
                        <a:pt x="418503" y="577585"/>
                        <a:pt x="414409" y="579452"/>
                        <a:pt x="410225" y="579452"/>
                      </a:cubicBezTo>
                      <a:cubicBezTo>
                        <a:pt x="407466" y="579452"/>
                        <a:pt x="404618" y="578652"/>
                        <a:pt x="402215" y="576874"/>
                      </a:cubicBezTo>
                      <a:lnTo>
                        <a:pt x="317393" y="514752"/>
                      </a:lnTo>
                      <a:lnTo>
                        <a:pt x="317393" y="565854"/>
                      </a:lnTo>
                      <a:cubicBezTo>
                        <a:pt x="317393" y="573408"/>
                        <a:pt x="311341" y="579452"/>
                        <a:pt x="303775" y="579452"/>
                      </a:cubicBezTo>
                      <a:cubicBezTo>
                        <a:pt x="296299" y="579452"/>
                        <a:pt x="290157" y="573408"/>
                        <a:pt x="290157" y="565854"/>
                      </a:cubicBezTo>
                      <a:lnTo>
                        <a:pt x="290157" y="514752"/>
                      </a:lnTo>
                      <a:lnTo>
                        <a:pt x="205424" y="576874"/>
                      </a:lnTo>
                      <a:cubicBezTo>
                        <a:pt x="199372" y="581318"/>
                        <a:pt x="190827" y="579985"/>
                        <a:pt x="186377" y="573942"/>
                      </a:cubicBezTo>
                      <a:cubicBezTo>
                        <a:pt x="181927" y="567898"/>
                        <a:pt x="183262" y="559366"/>
                        <a:pt x="189314" y="554923"/>
                      </a:cubicBezTo>
                      <a:lnTo>
                        <a:pt x="290157" y="481069"/>
                      </a:lnTo>
                      <a:lnTo>
                        <a:pt x="290157" y="441165"/>
                      </a:lnTo>
                      <a:lnTo>
                        <a:pt x="58120" y="441165"/>
                      </a:lnTo>
                      <a:cubicBezTo>
                        <a:pt x="43167" y="441165"/>
                        <a:pt x="30885" y="428990"/>
                        <a:pt x="30885" y="413970"/>
                      </a:cubicBezTo>
                      <a:lnTo>
                        <a:pt x="30885" y="108514"/>
                      </a:lnTo>
                      <a:lnTo>
                        <a:pt x="27236" y="108514"/>
                      </a:lnTo>
                      <a:cubicBezTo>
                        <a:pt x="12194" y="108514"/>
                        <a:pt x="0" y="96338"/>
                        <a:pt x="0" y="81319"/>
                      </a:cubicBezTo>
                      <a:lnTo>
                        <a:pt x="0" y="56079"/>
                      </a:lnTo>
                      <a:cubicBezTo>
                        <a:pt x="0" y="41148"/>
                        <a:pt x="12194" y="28884"/>
                        <a:pt x="27236" y="28884"/>
                      </a:cubicBezTo>
                      <a:lnTo>
                        <a:pt x="290157" y="28884"/>
                      </a:lnTo>
                      <a:lnTo>
                        <a:pt x="290157" y="13597"/>
                      </a:lnTo>
                      <a:cubicBezTo>
                        <a:pt x="290157" y="6132"/>
                        <a:pt x="296299" y="0"/>
                        <a:pt x="303775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 anchor="ctr"/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</p:grpSp>
        <p:sp>
          <p:nvSpPr>
            <p:cNvPr id="38" name="文本框 37">
              <a:extLst>
                <a:ext uri="{FF2B5EF4-FFF2-40B4-BE49-F238E27FC236}">
                  <a16:creationId xmlns:a16="http://schemas.microsoft.com/office/drawing/2014/main" id="{436C5D34-D879-48B1-AFDF-F33A0C5A44A9}"/>
                </a:ext>
              </a:extLst>
            </p:cNvPr>
            <p:cNvSpPr txBox="1"/>
            <p:nvPr/>
          </p:nvSpPr>
          <p:spPr>
            <a:xfrm>
              <a:off x="7741184" y="1785821"/>
              <a:ext cx="3779304" cy="884684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normAutofit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900" dirty="0"/>
                <a:t>Supporting text here.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900" dirty="0"/>
                <a:t>You can use the icon library in </a:t>
              </a:r>
              <a:r>
                <a:rPr lang="en-US" altLang="zh-CN" sz="900" dirty="0" err="1"/>
                <a:t>OfficePLUS</a:t>
              </a:r>
              <a:r>
                <a:rPr lang="en-US" altLang="zh-CN" sz="900" dirty="0"/>
                <a:t>  (OfficePLUS) to filter and replace existing icon elements with one click.</a:t>
              </a:r>
              <a:endParaRPr lang="zh-CN" altLang="en-US" sz="900" dirty="0"/>
            </a:p>
          </p:txBody>
        </p:sp>
        <p:sp>
          <p:nvSpPr>
            <p:cNvPr id="39" name="文本框 38">
              <a:extLst>
                <a:ext uri="{FF2B5EF4-FFF2-40B4-BE49-F238E27FC236}">
                  <a16:creationId xmlns:a16="http://schemas.microsoft.com/office/drawing/2014/main" id="{C8EFAA53-F344-446F-9C1F-AF3C920CDE0C}"/>
                </a:ext>
              </a:extLst>
            </p:cNvPr>
            <p:cNvSpPr txBox="1"/>
            <p:nvPr/>
          </p:nvSpPr>
          <p:spPr>
            <a:xfrm>
              <a:off x="7741184" y="1314000"/>
              <a:ext cx="3779304" cy="471820"/>
            </a:xfrm>
            <a:prstGeom prst="rect">
              <a:avLst/>
            </a:prstGeom>
            <a:noFill/>
          </p:spPr>
          <p:txBody>
            <a:bodyPr wrap="none" rtlCol="0" anchor="ctr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600" b="1" dirty="0"/>
                <a:t>…</a:t>
              </a:r>
              <a:r>
                <a:rPr lang="zh-CN" altLang="en-US" sz="1600" b="1" dirty="0"/>
                <a:t>方向阶段</a:t>
              </a:r>
            </a:p>
          </p:txBody>
        </p:sp>
        <p:grpSp>
          <p:nvGrpSpPr>
            <p:cNvPr id="40" name="组合 39">
              <a:extLst>
                <a:ext uri="{FF2B5EF4-FFF2-40B4-BE49-F238E27FC236}">
                  <a16:creationId xmlns:a16="http://schemas.microsoft.com/office/drawing/2014/main" id="{DA923D12-CA54-4CDB-A6EF-A73F676E3B15}"/>
                </a:ext>
              </a:extLst>
            </p:cNvPr>
            <p:cNvGrpSpPr/>
            <p:nvPr/>
          </p:nvGrpSpPr>
          <p:grpSpPr>
            <a:xfrm>
              <a:off x="6186000" y="3114629"/>
              <a:ext cx="1387748" cy="1253331"/>
              <a:chOff x="5194562" y="1494000"/>
              <a:chExt cx="1387748" cy="1253331"/>
            </a:xfrm>
          </p:grpSpPr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FF362C47-0808-4071-A8C8-844287F8477B}"/>
                  </a:ext>
                </a:extLst>
              </p:cNvPr>
              <p:cNvSpPr/>
              <p:nvPr/>
            </p:nvSpPr>
            <p:spPr bwMode="auto">
              <a:xfrm>
                <a:off x="5584373" y="2635260"/>
                <a:ext cx="775562" cy="112071"/>
              </a:xfrm>
              <a:custGeom>
                <a:avLst/>
                <a:gdLst>
                  <a:gd name="T0" fmla="+- 0 10800 961"/>
                  <a:gd name="T1" fmla="*/ T0 w 19679"/>
                  <a:gd name="T2" fmla="+- 0 10800 961"/>
                  <a:gd name="T3" fmla="*/ 10800 h 19679"/>
                  <a:gd name="T4" fmla="+- 0 10800 961"/>
                  <a:gd name="T5" fmla="*/ T4 w 19679"/>
                  <a:gd name="T6" fmla="+- 0 10800 961"/>
                  <a:gd name="T7" fmla="*/ 10800 h 19679"/>
                  <a:gd name="T8" fmla="+- 0 10800 961"/>
                  <a:gd name="T9" fmla="*/ T8 w 19679"/>
                  <a:gd name="T10" fmla="+- 0 10800 961"/>
                  <a:gd name="T11" fmla="*/ 10800 h 19679"/>
                  <a:gd name="T12" fmla="+- 0 10800 961"/>
                  <a:gd name="T13" fmla="*/ T12 w 19679"/>
                  <a:gd name="T14" fmla="+- 0 10800 961"/>
                  <a:gd name="T15" fmla="*/ 10800 h 19679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19679" h="19679">
                    <a:moveTo>
                      <a:pt x="16796" y="2881"/>
                    </a:moveTo>
                    <a:cubicBezTo>
                      <a:pt x="20639" y="6724"/>
                      <a:pt x="20639" y="12953"/>
                      <a:pt x="16796" y="16796"/>
                    </a:cubicBezTo>
                    <a:cubicBezTo>
                      <a:pt x="12953" y="20638"/>
                      <a:pt x="6724" y="20638"/>
                      <a:pt x="2881" y="16796"/>
                    </a:cubicBezTo>
                    <a:cubicBezTo>
                      <a:pt x="-961" y="12953"/>
                      <a:pt x="-961" y="6724"/>
                      <a:pt x="2881" y="2881"/>
                    </a:cubicBezTo>
                    <a:cubicBezTo>
                      <a:pt x="6724" y="-961"/>
                      <a:pt x="12953" y="-961"/>
                      <a:pt x="16796" y="2881"/>
                    </a:cubicBezTo>
                    <a:close/>
                  </a:path>
                </a:pathLst>
              </a:custGeom>
              <a:solidFill>
                <a:srgbClr val="53585F">
                  <a:alpha val="2688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" name="椭圆 53">
                <a:extLst>
                  <a:ext uri="{FF2B5EF4-FFF2-40B4-BE49-F238E27FC236}">
                    <a16:creationId xmlns:a16="http://schemas.microsoft.com/office/drawing/2014/main" id="{0881EF50-F60B-4B60-84B2-90E1F2EAD257}"/>
                  </a:ext>
                </a:extLst>
              </p:cNvPr>
              <p:cNvSpPr/>
              <p:nvPr/>
            </p:nvSpPr>
            <p:spPr bwMode="auto">
              <a:xfrm>
                <a:off x="5194562" y="1580931"/>
                <a:ext cx="1166400" cy="1166400"/>
              </a:xfrm>
              <a:prstGeom prst="ellipse">
                <a:avLst/>
              </a:prstGeom>
              <a:blipFill>
                <a:blip r:embed="rId3"/>
                <a:stretch>
                  <a:fillRect l="-25569" r="-25019"/>
                </a:stretch>
              </a:blip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zh-CN" alt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55" name="组合 54">
                <a:extLst>
                  <a:ext uri="{FF2B5EF4-FFF2-40B4-BE49-F238E27FC236}">
                    <a16:creationId xmlns:a16="http://schemas.microsoft.com/office/drawing/2014/main" id="{0CF3595C-4173-4422-A804-1D0D908D9AA9}"/>
                  </a:ext>
                </a:extLst>
              </p:cNvPr>
              <p:cNvGrpSpPr/>
              <p:nvPr/>
            </p:nvGrpSpPr>
            <p:grpSpPr>
              <a:xfrm>
                <a:off x="6042310" y="1494000"/>
                <a:ext cx="540000" cy="540000"/>
                <a:chOff x="824229" y="5280877"/>
                <a:chExt cx="347557" cy="347557"/>
              </a:xfrm>
              <a:solidFill>
                <a:schemeClr val="accent1"/>
              </a:solidFill>
            </p:grpSpPr>
            <p:sp>
              <p:nvSpPr>
                <p:cNvPr id="56" name="椭圆 55">
                  <a:extLst>
                    <a:ext uri="{FF2B5EF4-FFF2-40B4-BE49-F238E27FC236}">
                      <a16:creationId xmlns:a16="http://schemas.microsoft.com/office/drawing/2014/main" id="{45AA225B-5F9F-4D4D-8E22-6EFDE9D114B2}"/>
                    </a:ext>
                  </a:extLst>
                </p:cNvPr>
                <p:cNvSpPr/>
                <p:nvPr/>
              </p:nvSpPr>
              <p:spPr>
                <a:xfrm>
                  <a:off x="824229" y="5280877"/>
                  <a:ext cx="347557" cy="347557"/>
                </a:xfrm>
                <a:prstGeom prst="ellipse">
                  <a:avLst/>
                </a:prstGeom>
                <a:solidFill>
                  <a:schemeClr val="accent2"/>
                </a:solidFill>
                <a:ln w="38100">
                  <a:solidFill>
                    <a:schemeClr val="bg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dirty="0"/>
                </a:p>
              </p:txBody>
            </p:sp>
            <p:sp>
              <p:nvSpPr>
                <p:cNvPr id="57" name="任意多边形: 形状 56">
                  <a:extLst>
                    <a:ext uri="{FF2B5EF4-FFF2-40B4-BE49-F238E27FC236}">
                      <a16:creationId xmlns:a16="http://schemas.microsoft.com/office/drawing/2014/main" id="{9AB622BF-D68E-401C-8103-CC8A17F45520}"/>
                    </a:ext>
                  </a:extLst>
                </p:cNvPr>
                <p:cNvSpPr/>
                <p:nvPr/>
              </p:nvSpPr>
              <p:spPr>
                <a:xfrm>
                  <a:off x="911682" y="5372326"/>
                  <a:ext cx="172652" cy="164657"/>
                </a:xfrm>
                <a:custGeom>
                  <a:avLst/>
                  <a:gdLst>
                    <a:gd name="connsiteX0" fmla="*/ 315778 w 607639"/>
                    <a:gd name="connsiteY0" fmla="*/ 173080 h 579502"/>
                    <a:gd name="connsiteX1" fmla="*/ 315778 w 607639"/>
                    <a:gd name="connsiteY1" fmla="*/ 266058 h 579502"/>
                    <a:gd name="connsiteX2" fmla="*/ 303493 w 607639"/>
                    <a:gd name="connsiteY2" fmla="*/ 278325 h 579502"/>
                    <a:gd name="connsiteX3" fmla="*/ 210375 w 607639"/>
                    <a:gd name="connsiteY3" fmla="*/ 278325 h 579502"/>
                    <a:gd name="connsiteX4" fmla="*/ 303493 w 607639"/>
                    <a:gd name="connsiteY4" fmla="*/ 359925 h 579502"/>
                    <a:gd name="connsiteX5" fmla="*/ 397500 w 607639"/>
                    <a:gd name="connsiteY5" fmla="*/ 266058 h 579502"/>
                    <a:gd name="connsiteX6" fmla="*/ 315778 w 607639"/>
                    <a:gd name="connsiteY6" fmla="*/ 173080 h 579502"/>
                    <a:gd name="connsiteX7" fmla="*/ 249814 w 607639"/>
                    <a:gd name="connsiteY7" fmla="*/ 160816 h 579502"/>
                    <a:gd name="connsiteX8" fmla="*/ 198110 w 607639"/>
                    <a:gd name="connsiteY8" fmla="*/ 212449 h 579502"/>
                    <a:gd name="connsiteX9" fmla="*/ 249814 w 607639"/>
                    <a:gd name="connsiteY9" fmla="*/ 212449 h 579502"/>
                    <a:gd name="connsiteX10" fmla="*/ 303493 w 607639"/>
                    <a:gd name="connsiteY10" fmla="*/ 147835 h 579502"/>
                    <a:gd name="connsiteX11" fmla="*/ 421981 w 607639"/>
                    <a:gd name="connsiteY11" fmla="*/ 266058 h 579502"/>
                    <a:gd name="connsiteX12" fmla="*/ 303493 w 607639"/>
                    <a:gd name="connsiteY12" fmla="*/ 384370 h 579502"/>
                    <a:gd name="connsiteX13" fmla="*/ 185093 w 607639"/>
                    <a:gd name="connsiteY13" fmla="*/ 266058 h 579502"/>
                    <a:gd name="connsiteX14" fmla="*/ 197289 w 607639"/>
                    <a:gd name="connsiteY14" fmla="*/ 253880 h 579502"/>
                    <a:gd name="connsiteX15" fmla="*/ 291297 w 607639"/>
                    <a:gd name="connsiteY15" fmla="*/ 253880 h 579502"/>
                    <a:gd name="connsiteX16" fmla="*/ 291297 w 607639"/>
                    <a:gd name="connsiteY16" fmla="*/ 160013 h 579502"/>
                    <a:gd name="connsiteX17" fmla="*/ 303493 w 607639"/>
                    <a:gd name="connsiteY17" fmla="*/ 147835 h 579502"/>
                    <a:gd name="connsiteX18" fmla="*/ 262095 w 607639"/>
                    <a:gd name="connsiteY18" fmla="*/ 135133 h 579502"/>
                    <a:gd name="connsiteX19" fmla="*/ 274287 w 607639"/>
                    <a:gd name="connsiteY19" fmla="*/ 147397 h 579502"/>
                    <a:gd name="connsiteX20" fmla="*/ 274287 w 607639"/>
                    <a:gd name="connsiteY20" fmla="*/ 224713 h 579502"/>
                    <a:gd name="connsiteX21" fmla="*/ 262095 w 607639"/>
                    <a:gd name="connsiteY21" fmla="*/ 236888 h 579502"/>
                    <a:gd name="connsiteX22" fmla="*/ 184672 w 607639"/>
                    <a:gd name="connsiteY22" fmla="*/ 236888 h 579502"/>
                    <a:gd name="connsiteX23" fmla="*/ 172391 w 607639"/>
                    <a:gd name="connsiteY23" fmla="*/ 224713 h 579502"/>
                    <a:gd name="connsiteX24" fmla="*/ 262095 w 607639"/>
                    <a:gd name="connsiteY24" fmla="*/ 135133 h 579502"/>
                    <a:gd name="connsiteX25" fmla="*/ 58120 w 607639"/>
                    <a:gd name="connsiteY25" fmla="*/ 108514 h 579502"/>
                    <a:gd name="connsiteX26" fmla="*/ 58120 w 607639"/>
                    <a:gd name="connsiteY26" fmla="*/ 413970 h 579502"/>
                    <a:gd name="connsiteX27" fmla="*/ 549430 w 607639"/>
                    <a:gd name="connsiteY27" fmla="*/ 413970 h 579502"/>
                    <a:gd name="connsiteX28" fmla="*/ 549430 w 607639"/>
                    <a:gd name="connsiteY28" fmla="*/ 108514 h 579502"/>
                    <a:gd name="connsiteX29" fmla="*/ 27236 w 607639"/>
                    <a:gd name="connsiteY29" fmla="*/ 56079 h 579502"/>
                    <a:gd name="connsiteX30" fmla="*/ 27236 w 607639"/>
                    <a:gd name="connsiteY30" fmla="*/ 81319 h 579502"/>
                    <a:gd name="connsiteX31" fmla="*/ 580403 w 607639"/>
                    <a:gd name="connsiteY31" fmla="*/ 81319 h 579502"/>
                    <a:gd name="connsiteX32" fmla="*/ 580403 w 607639"/>
                    <a:gd name="connsiteY32" fmla="*/ 56079 h 579502"/>
                    <a:gd name="connsiteX33" fmla="*/ 303775 w 607639"/>
                    <a:gd name="connsiteY33" fmla="*/ 0 h 579502"/>
                    <a:gd name="connsiteX34" fmla="*/ 317393 w 607639"/>
                    <a:gd name="connsiteY34" fmla="*/ 13597 h 579502"/>
                    <a:gd name="connsiteX35" fmla="*/ 317393 w 607639"/>
                    <a:gd name="connsiteY35" fmla="*/ 28884 h 579502"/>
                    <a:gd name="connsiteX36" fmla="*/ 580403 w 607639"/>
                    <a:gd name="connsiteY36" fmla="*/ 28884 h 579502"/>
                    <a:gd name="connsiteX37" fmla="*/ 607639 w 607639"/>
                    <a:gd name="connsiteY37" fmla="*/ 56079 h 579502"/>
                    <a:gd name="connsiteX38" fmla="*/ 607639 w 607639"/>
                    <a:gd name="connsiteY38" fmla="*/ 81319 h 579502"/>
                    <a:gd name="connsiteX39" fmla="*/ 580403 w 607639"/>
                    <a:gd name="connsiteY39" fmla="*/ 108514 h 579502"/>
                    <a:gd name="connsiteX40" fmla="*/ 576665 w 607639"/>
                    <a:gd name="connsiteY40" fmla="*/ 108514 h 579502"/>
                    <a:gd name="connsiteX41" fmla="*/ 576665 w 607639"/>
                    <a:gd name="connsiteY41" fmla="*/ 413970 h 579502"/>
                    <a:gd name="connsiteX42" fmla="*/ 549430 w 607639"/>
                    <a:gd name="connsiteY42" fmla="*/ 441165 h 579502"/>
                    <a:gd name="connsiteX43" fmla="*/ 317393 w 607639"/>
                    <a:gd name="connsiteY43" fmla="*/ 441165 h 579502"/>
                    <a:gd name="connsiteX44" fmla="*/ 317393 w 607639"/>
                    <a:gd name="connsiteY44" fmla="*/ 481069 h 579502"/>
                    <a:gd name="connsiteX45" fmla="*/ 418236 w 607639"/>
                    <a:gd name="connsiteY45" fmla="*/ 554923 h 579502"/>
                    <a:gd name="connsiteX46" fmla="*/ 421173 w 607639"/>
                    <a:gd name="connsiteY46" fmla="*/ 573942 h 579502"/>
                    <a:gd name="connsiteX47" fmla="*/ 410225 w 607639"/>
                    <a:gd name="connsiteY47" fmla="*/ 579452 h 579502"/>
                    <a:gd name="connsiteX48" fmla="*/ 402215 w 607639"/>
                    <a:gd name="connsiteY48" fmla="*/ 576874 h 579502"/>
                    <a:gd name="connsiteX49" fmla="*/ 317393 w 607639"/>
                    <a:gd name="connsiteY49" fmla="*/ 514752 h 579502"/>
                    <a:gd name="connsiteX50" fmla="*/ 317393 w 607639"/>
                    <a:gd name="connsiteY50" fmla="*/ 565854 h 579502"/>
                    <a:gd name="connsiteX51" fmla="*/ 303775 w 607639"/>
                    <a:gd name="connsiteY51" fmla="*/ 579452 h 579502"/>
                    <a:gd name="connsiteX52" fmla="*/ 290157 w 607639"/>
                    <a:gd name="connsiteY52" fmla="*/ 565854 h 579502"/>
                    <a:gd name="connsiteX53" fmla="*/ 290157 w 607639"/>
                    <a:gd name="connsiteY53" fmla="*/ 514752 h 579502"/>
                    <a:gd name="connsiteX54" fmla="*/ 205424 w 607639"/>
                    <a:gd name="connsiteY54" fmla="*/ 576874 h 579502"/>
                    <a:gd name="connsiteX55" fmla="*/ 186377 w 607639"/>
                    <a:gd name="connsiteY55" fmla="*/ 573942 h 579502"/>
                    <a:gd name="connsiteX56" fmla="*/ 189314 w 607639"/>
                    <a:gd name="connsiteY56" fmla="*/ 554923 h 579502"/>
                    <a:gd name="connsiteX57" fmla="*/ 290157 w 607639"/>
                    <a:gd name="connsiteY57" fmla="*/ 481069 h 579502"/>
                    <a:gd name="connsiteX58" fmla="*/ 290157 w 607639"/>
                    <a:gd name="connsiteY58" fmla="*/ 441165 h 579502"/>
                    <a:gd name="connsiteX59" fmla="*/ 58120 w 607639"/>
                    <a:gd name="connsiteY59" fmla="*/ 441165 h 579502"/>
                    <a:gd name="connsiteX60" fmla="*/ 30885 w 607639"/>
                    <a:gd name="connsiteY60" fmla="*/ 413970 h 579502"/>
                    <a:gd name="connsiteX61" fmla="*/ 30885 w 607639"/>
                    <a:gd name="connsiteY61" fmla="*/ 108514 h 579502"/>
                    <a:gd name="connsiteX62" fmla="*/ 27236 w 607639"/>
                    <a:gd name="connsiteY62" fmla="*/ 108514 h 579502"/>
                    <a:gd name="connsiteX63" fmla="*/ 0 w 607639"/>
                    <a:gd name="connsiteY63" fmla="*/ 81319 h 579502"/>
                    <a:gd name="connsiteX64" fmla="*/ 0 w 607639"/>
                    <a:gd name="connsiteY64" fmla="*/ 56079 h 579502"/>
                    <a:gd name="connsiteX65" fmla="*/ 27236 w 607639"/>
                    <a:gd name="connsiteY65" fmla="*/ 28884 h 579502"/>
                    <a:gd name="connsiteX66" fmla="*/ 290157 w 607639"/>
                    <a:gd name="connsiteY66" fmla="*/ 28884 h 579502"/>
                    <a:gd name="connsiteX67" fmla="*/ 290157 w 607639"/>
                    <a:gd name="connsiteY67" fmla="*/ 13597 h 579502"/>
                    <a:gd name="connsiteX68" fmla="*/ 303775 w 607639"/>
                    <a:gd name="connsiteY68" fmla="*/ 0 h 579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</a:cxnLst>
                  <a:rect l="l" t="t" r="r" b="b"/>
                  <a:pathLst>
                    <a:path w="607639" h="579502">
                      <a:moveTo>
                        <a:pt x="315778" y="173080"/>
                      </a:moveTo>
                      <a:lnTo>
                        <a:pt x="315778" y="266058"/>
                      </a:lnTo>
                      <a:cubicBezTo>
                        <a:pt x="315778" y="272814"/>
                        <a:pt x="310258" y="278325"/>
                        <a:pt x="303493" y="278325"/>
                      </a:cubicBezTo>
                      <a:lnTo>
                        <a:pt x="210375" y="278325"/>
                      </a:lnTo>
                      <a:cubicBezTo>
                        <a:pt x="216429" y="324281"/>
                        <a:pt x="255866" y="359925"/>
                        <a:pt x="303493" y="359925"/>
                      </a:cubicBezTo>
                      <a:cubicBezTo>
                        <a:pt x="355303" y="359925"/>
                        <a:pt x="397500" y="317792"/>
                        <a:pt x="397500" y="266058"/>
                      </a:cubicBezTo>
                      <a:cubicBezTo>
                        <a:pt x="397500" y="218502"/>
                        <a:pt x="361802" y="179124"/>
                        <a:pt x="315778" y="173080"/>
                      </a:cubicBezTo>
                      <a:close/>
                      <a:moveTo>
                        <a:pt x="249814" y="160816"/>
                      </a:moveTo>
                      <a:cubicBezTo>
                        <a:pt x="223740" y="165793"/>
                        <a:pt x="203093" y="186410"/>
                        <a:pt x="198110" y="212449"/>
                      </a:cubicBezTo>
                      <a:lnTo>
                        <a:pt x="249814" y="212449"/>
                      </a:lnTo>
                      <a:close/>
                      <a:moveTo>
                        <a:pt x="303493" y="147835"/>
                      </a:moveTo>
                      <a:cubicBezTo>
                        <a:pt x="368835" y="147835"/>
                        <a:pt x="421981" y="200902"/>
                        <a:pt x="421981" y="266058"/>
                      </a:cubicBezTo>
                      <a:cubicBezTo>
                        <a:pt x="421981" y="331303"/>
                        <a:pt x="368835" y="384370"/>
                        <a:pt x="303493" y="384370"/>
                      </a:cubicBezTo>
                      <a:cubicBezTo>
                        <a:pt x="238239" y="384370"/>
                        <a:pt x="185093" y="331303"/>
                        <a:pt x="185093" y="266058"/>
                      </a:cubicBezTo>
                      <a:cubicBezTo>
                        <a:pt x="185093" y="259303"/>
                        <a:pt x="190523" y="253880"/>
                        <a:pt x="197289" y="253880"/>
                      </a:cubicBezTo>
                      <a:lnTo>
                        <a:pt x="291297" y="253880"/>
                      </a:lnTo>
                      <a:lnTo>
                        <a:pt x="291297" y="160013"/>
                      </a:lnTo>
                      <a:cubicBezTo>
                        <a:pt x="291297" y="153257"/>
                        <a:pt x="296727" y="147835"/>
                        <a:pt x="303493" y="147835"/>
                      </a:cubicBezTo>
                      <a:close/>
                      <a:moveTo>
                        <a:pt x="262095" y="135133"/>
                      </a:moveTo>
                      <a:cubicBezTo>
                        <a:pt x="268859" y="135133"/>
                        <a:pt x="274287" y="140643"/>
                        <a:pt x="274287" y="147397"/>
                      </a:cubicBezTo>
                      <a:lnTo>
                        <a:pt x="274287" y="224713"/>
                      </a:lnTo>
                      <a:cubicBezTo>
                        <a:pt x="274287" y="231467"/>
                        <a:pt x="268859" y="236888"/>
                        <a:pt x="262095" y="236888"/>
                      </a:cubicBezTo>
                      <a:lnTo>
                        <a:pt x="184672" y="236888"/>
                      </a:lnTo>
                      <a:cubicBezTo>
                        <a:pt x="177909" y="236888"/>
                        <a:pt x="172391" y="231467"/>
                        <a:pt x="172391" y="224713"/>
                      </a:cubicBezTo>
                      <a:cubicBezTo>
                        <a:pt x="172391" y="175302"/>
                        <a:pt x="212616" y="135133"/>
                        <a:pt x="262095" y="135133"/>
                      </a:cubicBezTo>
                      <a:close/>
                      <a:moveTo>
                        <a:pt x="58120" y="108514"/>
                      </a:moveTo>
                      <a:lnTo>
                        <a:pt x="58120" y="413970"/>
                      </a:lnTo>
                      <a:lnTo>
                        <a:pt x="549430" y="413970"/>
                      </a:lnTo>
                      <a:lnTo>
                        <a:pt x="549430" y="108514"/>
                      </a:lnTo>
                      <a:close/>
                      <a:moveTo>
                        <a:pt x="27236" y="56079"/>
                      </a:moveTo>
                      <a:lnTo>
                        <a:pt x="27236" y="81319"/>
                      </a:lnTo>
                      <a:lnTo>
                        <a:pt x="580403" y="81319"/>
                      </a:lnTo>
                      <a:lnTo>
                        <a:pt x="580403" y="56079"/>
                      </a:lnTo>
                      <a:close/>
                      <a:moveTo>
                        <a:pt x="303775" y="0"/>
                      </a:moveTo>
                      <a:cubicBezTo>
                        <a:pt x="311341" y="0"/>
                        <a:pt x="317393" y="6132"/>
                        <a:pt x="317393" y="13597"/>
                      </a:cubicBezTo>
                      <a:lnTo>
                        <a:pt x="317393" y="28884"/>
                      </a:lnTo>
                      <a:lnTo>
                        <a:pt x="580403" y="28884"/>
                      </a:lnTo>
                      <a:cubicBezTo>
                        <a:pt x="595356" y="28884"/>
                        <a:pt x="607639" y="41148"/>
                        <a:pt x="607639" y="56079"/>
                      </a:cubicBezTo>
                      <a:lnTo>
                        <a:pt x="607639" y="81319"/>
                      </a:lnTo>
                      <a:cubicBezTo>
                        <a:pt x="607639" y="96338"/>
                        <a:pt x="595356" y="108514"/>
                        <a:pt x="580403" y="108514"/>
                      </a:cubicBezTo>
                      <a:lnTo>
                        <a:pt x="576665" y="108514"/>
                      </a:lnTo>
                      <a:lnTo>
                        <a:pt x="576665" y="413970"/>
                      </a:lnTo>
                      <a:cubicBezTo>
                        <a:pt x="576665" y="428990"/>
                        <a:pt x="564472" y="441165"/>
                        <a:pt x="549430" y="441165"/>
                      </a:cubicBezTo>
                      <a:lnTo>
                        <a:pt x="317393" y="441165"/>
                      </a:lnTo>
                      <a:lnTo>
                        <a:pt x="317393" y="481069"/>
                      </a:lnTo>
                      <a:lnTo>
                        <a:pt x="418236" y="554923"/>
                      </a:lnTo>
                      <a:cubicBezTo>
                        <a:pt x="424377" y="559366"/>
                        <a:pt x="425623" y="567898"/>
                        <a:pt x="421173" y="573942"/>
                      </a:cubicBezTo>
                      <a:cubicBezTo>
                        <a:pt x="418503" y="577585"/>
                        <a:pt x="414409" y="579452"/>
                        <a:pt x="410225" y="579452"/>
                      </a:cubicBezTo>
                      <a:cubicBezTo>
                        <a:pt x="407466" y="579452"/>
                        <a:pt x="404618" y="578652"/>
                        <a:pt x="402215" y="576874"/>
                      </a:cubicBezTo>
                      <a:lnTo>
                        <a:pt x="317393" y="514752"/>
                      </a:lnTo>
                      <a:lnTo>
                        <a:pt x="317393" y="565854"/>
                      </a:lnTo>
                      <a:cubicBezTo>
                        <a:pt x="317393" y="573408"/>
                        <a:pt x="311341" y="579452"/>
                        <a:pt x="303775" y="579452"/>
                      </a:cubicBezTo>
                      <a:cubicBezTo>
                        <a:pt x="296299" y="579452"/>
                        <a:pt x="290157" y="573408"/>
                        <a:pt x="290157" y="565854"/>
                      </a:cubicBezTo>
                      <a:lnTo>
                        <a:pt x="290157" y="514752"/>
                      </a:lnTo>
                      <a:lnTo>
                        <a:pt x="205424" y="576874"/>
                      </a:lnTo>
                      <a:cubicBezTo>
                        <a:pt x="199372" y="581318"/>
                        <a:pt x="190827" y="579985"/>
                        <a:pt x="186377" y="573942"/>
                      </a:cubicBezTo>
                      <a:cubicBezTo>
                        <a:pt x="181927" y="567898"/>
                        <a:pt x="183262" y="559366"/>
                        <a:pt x="189314" y="554923"/>
                      </a:cubicBezTo>
                      <a:lnTo>
                        <a:pt x="290157" y="481069"/>
                      </a:lnTo>
                      <a:lnTo>
                        <a:pt x="290157" y="441165"/>
                      </a:lnTo>
                      <a:lnTo>
                        <a:pt x="58120" y="441165"/>
                      </a:lnTo>
                      <a:cubicBezTo>
                        <a:pt x="43167" y="441165"/>
                        <a:pt x="30885" y="428990"/>
                        <a:pt x="30885" y="413970"/>
                      </a:cubicBezTo>
                      <a:lnTo>
                        <a:pt x="30885" y="108514"/>
                      </a:lnTo>
                      <a:lnTo>
                        <a:pt x="27236" y="108514"/>
                      </a:lnTo>
                      <a:cubicBezTo>
                        <a:pt x="12194" y="108514"/>
                        <a:pt x="0" y="96338"/>
                        <a:pt x="0" y="81319"/>
                      </a:cubicBezTo>
                      <a:lnTo>
                        <a:pt x="0" y="56079"/>
                      </a:lnTo>
                      <a:cubicBezTo>
                        <a:pt x="0" y="41148"/>
                        <a:pt x="12194" y="28884"/>
                        <a:pt x="27236" y="28884"/>
                      </a:cubicBezTo>
                      <a:lnTo>
                        <a:pt x="290157" y="28884"/>
                      </a:lnTo>
                      <a:lnTo>
                        <a:pt x="290157" y="13597"/>
                      </a:lnTo>
                      <a:cubicBezTo>
                        <a:pt x="290157" y="6132"/>
                        <a:pt x="296299" y="0"/>
                        <a:pt x="303775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 anchor="ctr"/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</p:grpSp>
        <p:sp>
          <p:nvSpPr>
            <p:cNvPr id="41" name="文本框 40">
              <a:extLst>
                <a:ext uri="{FF2B5EF4-FFF2-40B4-BE49-F238E27FC236}">
                  <a16:creationId xmlns:a16="http://schemas.microsoft.com/office/drawing/2014/main" id="{5573ABB9-CED9-48DF-940C-62F35EEA1236}"/>
                </a:ext>
              </a:extLst>
            </p:cNvPr>
            <p:cNvSpPr txBox="1"/>
            <p:nvPr/>
          </p:nvSpPr>
          <p:spPr>
            <a:xfrm>
              <a:off x="7741184" y="3586450"/>
              <a:ext cx="3779304" cy="884684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normAutofit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900" dirty="0"/>
                <a:t>Supporting text here.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900" dirty="0"/>
                <a:t>You can use the icon library in </a:t>
              </a:r>
              <a:r>
                <a:rPr lang="en-US" altLang="zh-CN" sz="900" dirty="0" err="1"/>
                <a:t>OfficePLUS</a:t>
              </a:r>
              <a:r>
                <a:rPr lang="en-US" altLang="zh-CN" sz="900" dirty="0"/>
                <a:t>  (OfficePLUS) to filter and replace existing icon elements with one click.</a:t>
              </a:r>
              <a:endParaRPr lang="zh-CN" altLang="en-US" sz="900" dirty="0"/>
            </a:p>
          </p:txBody>
        </p:sp>
        <p:sp>
          <p:nvSpPr>
            <p:cNvPr id="42" name="文本框 41">
              <a:extLst>
                <a:ext uri="{FF2B5EF4-FFF2-40B4-BE49-F238E27FC236}">
                  <a16:creationId xmlns:a16="http://schemas.microsoft.com/office/drawing/2014/main" id="{BAD6BA88-ECC2-436B-A39C-B8C4A4BF0424}"/>
                </a:ext>
              </a:extLst>
            </p:cNvPr>
            <p:cNvSpPr txBox="1"/>
            <p:nvPr/>
          </p:nvSpPr>
          <p:spPr>
            <a:xfrm>
              <a:off x="7741184" y="3114629"/>
              <a:ext cx="3779304" cy="471820"/>
            </a:xfrm>
            <a:prstGeom prst="rect">
              <a:avLst/>
            </a:prstGeom>
            <a:noFill/>
          </p:spPr>
          <p:txBody>
            <a:bodyPr wrap="none" rtlCol="0" anchor="ctr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600" b="1" dirty="0"/>
                <a:t>…</a:t>
              </a:r>
              <a:r>
                <a:rPr lang="zh-CN" altLang="en-US" sz="1600" b="1" dirty="0"/>
                <a:t>方向阶段</a:t>
              </a:r>
            </a:p>
          </p:txBody>
        </p:sp>
        <p:grpSp>
          <p:nvGrpSpPr>
            <p:cNvPr id="43" name="组合 42">
              <a:extLst>
                <a:ext uri="{FF2B5EF4-FFF2-40B4-BE49-F238E27FC236}">
                  <a16:creationId xmlns:a16="http://schemas.microsoft.com/office/drawing/2014/main" id="{4C32451E-2303-4BE6-B28E-CBC88F6F3BBA}"/>
                </a:ext>
              </a:extLst>
            </p:cNvPr>
            <p:cNvGrpSpPr/>
            <p:nvPr/>
          </p:nvGrpSpPr>
          <p:grpSpPr>
            <a:xfrm>
              <a:off x="6186000" y="4915258"/>
              <a:ext cx="1387748" cy="1253331"/>
              <a:chOff x="5194562" y="1494000"/>
              <a:chExt cx="1387748" cy="1253331"/>
            </a:xfrm>
          </p:grpSpPr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33B1BCF3-144C-466F-A52F-9853EA28DABA}"/>
                  </a:ext>
                </a:extLst>
              </p:cNvPr>
              <p:cNvSpPr/>
              <p:nvPr/>
            </p:nvSpPr>
            <p:spPr bwMode="auto">
              <a:xfrm>
                <a:off x="5584373" y="2635260"/>
                <a:ext cx="775562" cy="112071"/>
              </a:xfrm>
              <a:custGeom>
                <a:avLst/>
                <a:gdLst>
                  <a:gd name="T0" fmla="+- 0 10800 961"/>
                  <a:gd name="T1" fmla="*/ T0 w 19679"/>
                  <a:gd name="T2" fmla="+- 0 10800 961"/>
                  <a:gd name="T3" fmla="*/ 10800 h 19679"/>
                  <a:gd name="T4" fmla="+- 0 10800 961"/>
                  <a:gd name="T5" fmla="*/ T4 w 19679"/>
                  <a:gd name="T6" fmla="+- 0 10800 961"/>
                  <a:gd name="T7" fmla="*/ 10800 h 19679"/>
                  <a:gd name="T8" fmla="+- 0 10800 961"/>
                  <a:gd name="T9" fmla="*/ T8 w 19679"/>
                  <a:gd name="T10" fmla="+- 0 10800 961"/>
                  <a:gd name="T11" fmla="*/ 10800 h 19679"/>
                  <a:gd name="T12" fmla="+- 0 10800 961"/>
                  <a:gd name="T13" fmla="*/ T12 w 19679"/>
                  <a:gd name="T14" fmla="+- 0 10800 961"/>
                  <a:gd name="T15" fmla="*/ 10800 h 19679"/>
                </a:gdLst>
                <a:ahLst/>
                <a:cxnLst>
                  <a:cxn ang="0">
                    <a:pos x="T1" y="T3"/>
                  </a:cxn>
                  <a:cxn ang="0">
                    <a:pos x="T5" y="T7"/>
                  </a:cxn>
                  <a:cxn ang="0">
                    <a:pos x="T9" y="T11"/>
                  </a:cxn>
                  <a:cxn ang="0">
                    <a:pos x="T13" y="T15"/>
                  </a:cxn>
                </a:cxnLst>
                <a:rect l="0" t="0" r="r" b="b"/>
                <a:pathLst>
                  <a:path w="19679" h="19679">
                    <a:moveTo>
                      <a:pt x="16796" y="2881"/>
                    </a:moveTo>
                    <a:cubicBezTo>
                      <a:pt x="20639" y="6724"/>
                      <a:pt x="20639" y="12953"/>
                      <a:pt x="16796" y="16796"/>
                    </a:cubicBezTo>
                    <a:cubicBezTo>
                      <a:pt x="12953" y="20638"/>
                      <a:pt x="6724" y="20638"/>
                      <a:pt x="2881" y="16796"/>
                    </a:cubicBezTo>
                    <a:cubicBezTo>
                      <a:pt x="-961" y="12953"/>
                      <a:pt x="-961" y="6724"/>
                      <a:pt x="2881" y="2881"/>
                    </a:cubicBezTo>
                    <a:cubicBezTo>
                      <a:pt x="6724" y="-961"/>
                      <a:pt x="12953" y="-961"/>
                      <a:pt x="16796" y="2881"/>
                    </a:cubicBezTo>
                    <a:close/>
                  </a:path>
                </a:pathLst>
              </a:custGeom>
              <a:solidFill>
                <a:srgbClr val="53585F">
                  <a:alpha val="26889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" name="椭圆 48">
                <a:extLst>
                  <a:ext uri="{FF2B5EF4-FFF2-40B4-BE49-F238E27FC236}">
                    <a16:creationId xmlns:a16="http://schemas.microsoft.com/office/drawing/2014/main" id="{F9A34034-F514-4134-9D9B-7589A1FD2EEA}"/>
                  </a:ext>
                </a:extLst>
              </p:cNvPr>
              <p:cNvSpPr/>
              <p:nvPr/>
            </p:nvSpPr>
            <p:spPr bwMode="auto">
              <a:xfrm>
                <a:off x="5194562" y="1580931"/>
                <a:ext cx="1166400" cy="1166400"/>
              </a:xfrm>
              <a:prstGeom prst="ellipse">
                <a:avLst/>
              </a:prstGeom>
              <a:blipFill>
                <a:blip r:embed="rId4"/>
                <a:stretch>
                  <a:fillRect l="-25302" r="-24757"/>
                </a:stretch>
              </a:blip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zh-CN" altLang="en-US" dirty="0">
                  <a:solidFill>
                    <a:schemeClr val="lt1"/>
                  </a:solidFill>
                </a:endParaRPr>
              </a:p>
            </p:txBody>
          </p:sp>
          <p:grpSp>
            <p:nvGrpSpPr>
              <p:cNvPr id="50" name="组合 49">
                <a:extLst>
                  <a:ext uri="{FF2B5EF4-FFF2-40B4-BE49-F238E27FC236}">
                    <a16:creationId xmlns:a16="http://schemas.microsoft.com/office/drawing/2014/main" id="{022C21C1-4C23-4A43-8A1F-58EA7DBF7008}"/>
                  </a:ext>
                </a:extLst>
              </p:cNvPr>
              <p:cNvGrpSpPr/>
              <p:nvPr/>
            </p:nvGrpSpPr>
            <p:grpSpPr>
              <a:xfrm>
                <a:off x="6042310" y="1494000"/>
                <a:ext cx="540000" cy="540000"/>
                <a:chOff x="824229" y="5280877"/>
                <a:chExt cx="347557" cy="347557"/>
              </a:xfrm>
              <a:solidFill>
                <a:schemeClr val="accent1"/>
              </a:solidFill>
            </p:grpSpPr>
            <p:sp>
              <p:nvSpPr>
                <p:cNvPr id="51" name="椭圆 50">
                  <a:extLst>
                    <a:ext uri="{FF2B5EF4-FFF2-40B4-BE49-F238E27FC236}">
                      <a16:creationId xmlns:a16="http://schemas.microsoft.com/office/drawing/2014/main" id="{962ACCDD-4312-4143-BA47-C27618DD3C55}"/>
                    </a:ext>
                  </a:extLst>
                </p:cNvPr>
                <p:cNvSpPr/>
                <p:nvPr/>
              </p:nvSpPr>
              <p:spPr>
                <a:xfrm>
                  <a:off x="824229" y="5280877"/>
                  <a:ext cx="347557" cy="347557"/>
                </a:xfrm>
                <a:prstGeom prst="ellipse">
                  <a:avLst/>
                </a:prstGeom>
                <a:solidFill>
                  <a:schemeClr val="accent3"/>
                </a:solidFill>
                <a:ln w="38100">
                  <a:solidFill>
                    <a:schemeClr val="bg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dirty="0"/>
                </a:p>
              </p:txBody>
            </p:sp>
            <p:sp>
              <p:nvSpPr>
                <p:cNvPr id="52" name="任意多边形: 形状 51">
                  <a:extLst>
                    <a:ext uri="{FF2B5EF4-FFF2-40B4-BE49-F238E27FC236}">
                      <a16:creationId xmlns:a16="http://schemas.microsoft.com/office/drawing/2014/main" id="{2E1F4F3B-058B-468A-BCD0-C8B676AC5371}"/>
                    </a:ext>
                  </a:extLst>
                </p:cNvPr>
                <p:cNvSpPr/>
                <p:nvPr/>
              </p:nvSpPr>
              <p:spPr>
                <a:xfrm>
                  <a:off x="911682" y="5372326"/>
                  <a:ext cx="172652" cy="164657"/>
                </a:xfrm>
                <a:custGeom>
                  <a:avLst/>
                  <a:gdLst>
                    <a:gd name="connsiteX0" fmla="*/ 315778 w 607639"/>
                    <a:gd name="connsiteY0" fmla="*/ 173080 h 579502"/>
                    <a:gd name="connsiteX1" fmla="*/ 315778 w 607639"/>
                    <a:gd name="connsiteY1" fmla="*/ 266058 h 579502"/>
                    <a:gd name="connsiteX2" fmla="*/ 303493 w 607639"/>
                    <a:gd name="connsiteY2" fmla="*/ 278325 h 579502"/>
                    <a:gd name="connsiteX3" fmla="*/ 210375 w 607639"/>
                    <a:gd name="connsiteY3" fmla="*/ 278325 h 579502"/>
                    <a:gd name="connsiteX4" fmla="*/ 303493 w 607639"/>
                    <a:gd name="connsiteY4" fmla="*/ 359925 h 579502"/>
                    <a:gd name="connsiteX5" fmla="*/ 397500 w 607639"/>
                    <a:gd name="connsiteY5" fmla="*/ 266058 h 579502"/>
                    <a:gd name="connsiteX6" fmla="*/ 315778 w 607639"/>
                    <a:gd name="connsiteY6" fmla="*/ 173080 h 579502"/>
                    <a:gd name="connsiteX7" fmla="*/ 249814 w 607639"/>
                    <a:gd name="connsiteY7" fmla="*/ 160816 h 579502"/>
                    <a:gd name="connsiteX8" fmla="*/ 198110 w 607639"/>
                    <a:gd name="connsiteY8" fmla="*/ 212449 h 579502"/>
                    <a:gd name="connsiteX9" fmla="*/ 249814 w 607639"/>
                    <a:gd name="connsiteY9" fmla="*/ 212449 h 579502"/>
                    <a:gd name="connsiteX10" fmla="*/ 303493 w 607639"/>
                    <a:gd name="connsiteY10" fmla="*/ 147835 h 579502"/>
                    <a:gd name="connsiteX11" fmla="*/ 421981 w 607639"/>
                    <a:gd name="connsiteY11" fmla="*/ 266058 h 579502"/>
                    <a:gd name="connsiteX12" fmla="*/ 303493 w 607639"/>
                    <a:gd name="connsiteY12" fmla="*/ 384370 h 579502"/>
                    <a:gd name="connsiteX13" fmla="*/ 185093 w 607639"/>
                    <a:gd name="connsiteY13" fmla="*/ 266058 h 579502"/>
                    <a:gd name="connsiteX14" fmla="*/ 197289 w 607639"/>
                    <a:gd name="connsiteY14" fmla="*/ 253880 h 579502"/>
                    <a:gd name="connsiteX15" fmla="*/ 291297 w 607639"/>
                    <a:gd name="connsiteY15" fmla="*/ 253880 h 579502"/>
                    <a:gd name="connsiteX16" fmla="*/ 291297 w 607639"/>
                    <a:gd name="connsiteY16" fmla="*/ 160013 h 579502"/>
                    <a:gd name="connsiteX17" fmla="*/ 303493 w 607639"/>
                    <a:gd name="connsiteY17" fmla="*/ 147835 h 579502"/>
                    <a:gd name="connsiteX18" fmla="*/ 262095 w 607639"/>
                    <a:gd name="connsiteY18" fmla="*/ 135133 h 579502"/>
                    <a:gd name="connsiteX19" fmla="*/ 274287 w 607639"/>
                    <a:gd name="connsiteY19" fmla="*/ 147397 h 579502"/>
                    <a:gd name="connsiteX20" fmla="*/ 274287 w 607639"/>
                    <a:gd name="connsiteY20" fmla="*/ 224713 h 579502"/>
                    <a:gd name="connsiteX21" fmla="*/ 262095 w 607639"/>
                    <a:gd name="connsiteY21" fmla="*/ 236888 h 579502"/>
                    <a:gd name="connsiteX22" fmla="*/ 184672 w 607639"/>
                    <a:gd name="connsiteY22" fmla="*/ 236888 h 579502"/>
                    <a:gd name="connsiteX23" fmla="*/ 172391 w 607639"/>
                    <a:gd name="connsiteY23" fmla="*/ 224713 h 579502"/>
                    <a:gd name="connsiteX24" fmla="*/ 262095 w 607639"/>
                    <a:gd name="connsiteY24" fmla="*/ 135133 h 579502"/>
                    <a:gd name="connsiteX25" fmla="*/ 58120 w 607639"/>
                    <a:gd name="connsiteY25" fmla="*/ 108514 h 579502"/>
                    <a:gd name="connsiteX26" fmla="*/ 58120 w 607639"/>
                    <a:gd name="connsiteY26" fmla="*/ 413970 h 579502"/>
                    <a:gd name="connsiteX27" fmla="*/ 549430 w 607639"/>
                    <a:gd name="connsiteY27" fmla="*/ 413970 h 579502"/>
                    <a:gd name="connsiteX28" fmla="*/ 549430 w 607639"/>
                    <a:gd name="connsiteY28" fmla="*/ 108514 h 579502"/>
                    <a:gd name="connsiteX29" fmla="*/ 27236 w 607639"/>
                    <a:gd name="connsiteY29" fmla="*/ 56079 h 579502"/>
                    <a:gd name="connsiteX30" fmla="*/ 27236 w 607639"/>
                    <a:gd name="connsiteY30" fmla="*/ 81319 h 579502"/>
                    <a:gd name="connsiteX31" fmla="*/ 580403 w 607639"/>
                    <a:gd name="connsiteY31" fmla="*/ 81319 h 579502"/>
                    <a:gd name="connsiteX32" fmla="*/ 580403 w 607639"/>
                    <a:gd name="connsiteY32" fmla="*/ 56079 h 579502"/>
                    <a:gd name="connsiteX33" fmla="*/ 303775 w 607639"/>
                    <a:gd name="connsiteY33" fmla="*/ 0 h 579502"/>
                    <a:gd name="connsiteX34" fmla="*/ 317393 w 607639"/>
                    <a:gd name="connsiteY34" fmla="*/ 13597 h 579502"/>
                    <a:gd name="connsiteX35" fmla="*/ 317393 w 607639"/>
                    <a:gd name="connsiteY35" fmla="*/ 28884 h 579502"/>
                    <a:gd name="connsiteX36" fmla="*/ 580403 w 607639"/>
                    <a:gd name="connsiteY36" fmla="*/ 28884 h 579502"/>
                    <a:gd name="connsiteX37" fmla="*/ 607639 w 607639"/>
                    <a:gd name="connsiteY37" fmla="*/ 56079 h 579502"/>
                    <a:gd name="connsiteX38" fmla="*/ 607639 w 607639"/>
                    <a:gd name="connsiteY38" fmla="*/ 81319 h 579502"/>
                    <a:gd name="connsiteX39" fmla="*/ 580403 w 607639"/>
                    <a:gd name="connsiteY39" fmla="*/ 108514 h 579502"/>
                    <a:gd name="connsiteX40" fmla="*/ 576665 w 607639"/>
                    <a:gd name="connsiteY40" fmla="*/ 108514 h 579502"/>
                    <a:gd name="connsiteX41" fmla="*/ 576665 w 607639"/>
                    <a:gd name="connsiteY41" fmla="*/ 413970 h 579502"/>
                    <a:gd name="connsiteX42" fmla="*/ 549430 w 607639"/>
                    <a:gd name="connsiteY42" fmla="*/ 441165 h 579502"/>
                    <a:gd name="connsiteX43" fmla="*/ 317393 w 607639"/>
                    <a:gd name="connsiteY43" fmla="*/ 441165 h 579502"/>
                    <a:gd name="connsiteX44" fmla="*/ 317393 w 607639"/>
                    <a:gd name="connsiteY44" fmla="*/ 481069 h 579502"/>
                    <a:gd name="connsiteX45" fmla="*/ 418236 w 607639"/>
                    <a:gd name="connsiteY45" fmla="*/ 554923 h 579502"/>
                    <a:gd name="connsiteX46" fmla="*/ 421173 w 607639"/>
                    <a:gd name="connsiteY46" fmla="*/ 573942 h 579502"/>
                    <a:gd name="connsiteX47" fmla="*/ 410225 w 607639"/>
                    <a:gd name="connsiteY47" fmla="*/ 579452 h 579502"/>
                    <a:gd name="connsiteX48" fmla="*/ 402215 w 607639"/>
                    <a:gd name="connsiteY48" fmla="*/ 576874 h 579502"/>
                    <a:gd name="connsiteX49" fmla="*/ 317393 w 607639"/>
                    <a:gd name="connsiteY49" fmla="*/ 514752 h 579502"/>
                    <a:gd name="connsiteX50" fmla="*/ 317393 w 607639"/>
                    <a:gd name="connsiteY50" fmla="*/ 565854 h 579502"/>
                    <a:gd name="connsiteX51" fmla="*/ 303775 w 607639"/>
                    <a:gd name="connsiteY51" fmla="*/ 579452 h 579502"/>
                    <a:gd name="connsiteX52" fmla="*/ 290157 w 607639"/>
                    <a:gd name="connsiteY52" fmla="*/ 565854 h 579502"/>
                    <a:gd name="connsiteX53" fmla="*/ 290157 w 607639"/>
                    <a:gd name="connsiteY53" fmla="*/ 514752 h 579502"/>
                    <a:gd name="connsiteX54" fmla="*/ 205424 w 607639"/>
                    <a:gd name="connsiteY54" fmla="*/ 576874 h 579502"/>
                    <a:gd name="connsiteX55" fmla="*/ 186377 w 607639"/>
                    <a:gd name="connsiteY55" fmla="*/ 573942 h 579502"/>
                    <a:gd name="connsiteX56" fmla="*/ 189314 w 607639"/>
                    <a:gd name="connsiteY56" fmla="*/ 554923 h 579502"/>
                    <a:gd name="connsiteX57" fmla="*/ 290157 w 607639"/>
                    <a:gd name="connsiteY57" fmla="*/ 481069 h 579502"/>
                    <a:gd name="connsiteX58" fmla="*/ 290157 w 607639"/>
                    <a:gd name="connsiteY58" fmla="*/ 441165 h 579502"/>
                    <a:gd name="connsiteX59" fmla="*/ 58120 w 607639"/>
                    <a:gd name="connsiteY59" fmla="*/ 441165 h 579502"/>
                    <a:gd name="connsiteX60" fmla="*/ 30885 w 607639"/>
                    <a:gd name="connsiteY60" fmla="*/ 413970 h 579502"/>
                    <a:gd name="connsiteX61" fmla="*/ 30885 w 607639"/>
                    <a:gd name="connsiteY61" fmla="*/ 108514 h 579502"/>
                    <a:gd name="connsiteX62" fmla="*/ 27236 w 607639"/>
                    <a:gd name="connsiteY62" fmla="*/ 108514 h 579502"/>
                    <a:gd name="connsiteX63" fmla="*/ 0 w 607639"/>
                    <a:gd name="connsiteY63" fmla="*/ 81319 h 579502"/>
                    <a:gd name="connsiteX64" fmla="*/ 0 w 607639"/>
                    <a:gd name="connsiteY64" fmla="*/ 56079 h 579502"/>
                    <a:gd name="connsiteX65" fmla="*/ 27236 w 607639"/>
                    <a:gd name="connsiteY65" fmla="*/ 28884 h 579502"/>
                    <a:gd name="connsiteX66" fmla="*/ 290157 w 607639"/>
                    <a:gd name="connsiteY66" fmla="*/ 28884 h 579502"/>
                    <a:gd name="connsiteX67" fmla="*/ 290157 w 607639"/>
                    <a:gd name="connsiteY67" fmla="*/ 13597 h 579502"/>
                    <a:gd name="connsiteX68" fmla="*/ 303775 w 607639"/>
                    <a:gd name="connsiteY68" fmla="*/ 0 h 579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</a:cxnLst>
                  <a:rect l="l" t="t" r="r" b="b"/>
                  <a:pathLst>
                    <a:path w="607639" h="579502">
                      <a:moveTo>
                        <a:pt x="315778" y="173080"/>
                      </a:moveTo>
                      <a:lnTo>
                        <a:pt x="315778" y="266058"/>
                      </a:lnTo>
                      <a:cubicBezTo>
                        <a:pt x="315778" y="272814"/>
                        <a:pt x="310258" y="278325"/>
                        <a:pt x="303493" y="278325"/>
                      </a:cubicBezTo>
                      <a:lnTo>
                        <a:pt x="210375" y="278325"/>
                      </a:lnTo>
                      <a:cubicBezTo>
                        <a:pt x="216429" y="324281"/>
                        <a:pt x="255866" y="359925"/>
                        <a:pt x="303493" y="359925"/>
                      </a:cubicBezTo>
                      <a:cubicBezTo>
                        <a:pt x="355303" y="359925"/>
                        <a:pt x="397500" y="317792"/>
                        <a:pt x="397500" y="266058"/>
                      </a:cubicBezTo>
                      <a:cubicBezTo>
                        <a:pt x="397500" y="218502"/>
                        <a:pt x="361802" y="179124"/>
                        <a:pt x="315778" y="173080"/>
                      </a:cubicBezTo>
                      <a:close/>
                      <a:moveTo>
                        <a:pt x="249814" y="160816"/>
                      </a:moveTo>
                      <a:cubicBezTo>
                        <a:pt x="223740" y="165793"/>
                        <a:pt x="203093" y="186410"/>
                        <a:pt x="198110" y="212449"/>
                      </a:cubicBezTo>
                      <a:lnTo>
                        <a:pt x="249814" y="212449"/>
                      </a:lnTo>
                      <a:close/>
                      <a:moveTo>
                        <a:pt x="303493" y="147835"/>
                      </a:moveTo>
                      <a:cubicBezTo>
                        <a:pt x="368835" y="147835"/>
                        <a:pt x="421981" y="200902"/>
                        <a:pt x="421981" y="266058"/>
                      </a:cubicBezTo>
                      <a:cubicBezTo>
                        <a:pt x="421981" y="331303"/>
                        <a:pt x="368835" y="384370"/>
                        <a:pt x="303493" y="384370"/>
                      </a:cubicBezTo>
                      <a:cubicBezTo>
                        <a:pt x="238239" y="384370"/>
                        <a:pt x="185093" y="331303"/>
                        <a:pt x="185093" y="266058"/>
                      </a:cubicBezTo>
                      <a:cubicBezTo>
                        <a:pt x="185093" y="259303"/>
                        <a:pt x="190523" y="253880"/>
                        <a:pt x="197289" y="253880"/>
                      </a:cubicBezTo>
                      <a:lnTo>
                        <a:pt x="291297" y="253880"/>
                      </a:lnTo>
                      <a:lnTo>
                        <a:pt x="291297" y="160013"/>
                      </a:lnTo>
                      <a:cubicBezTo>
                        <a:pt x="291297" y="153257"/>
                        <a:pt x="296727" y="147835"/>
                        <a:pt x="303493" y="147835"/>
                      </a:cubicBezTo>
                      <a:close/>
                      <a:moveTo>
                        <a:pt x="262095" y="135133"/>
                      </a:moveTo>
                      <a:cubicBezTo>
                        <a:pt x="268859" y="135133"/>
                        <a:pt x="274287" y="140643"/>
                        <a:pt x="274287" y="147397"/>
                      </a:cubicBezTo>
                      <a:lnTo>
                        <a:pt x="274287" y="224713"/>
                      </a:lnTo>
                      <a:cubicBezTo>
                        <a:pt x="274287" y="231467"/>
                        <a:pt x="268859" y="236888"/>
                        <a:pt x="262095" y="236888"/>
                      </a:cubicBezTo>
                      <a:lnTo>
                        <a:pt x="184672" y="236888"/>
                      </a:lnTo>
                      <a:cubicBezTo>
                        <a:pt x="177909" y="236888"/>
                        <a:pt x="172391" y="231467"/>
                        <a:pt x="172391" y="224713"/>
                      </a:cubicBezTo>
                      <a:cubicBezTo>
                        <a:pt x="172391" y="175302"/>
                        <a:pt x="212616" y="135133"/>
                        <a:pt x="262095" y="135133"/>
                      </a:cubicBezTo>
                      <a:close/>
                      <a:moveTo>
                        <a:pt x="58120" y="108514"/>
                      </a:moveTo>
                      <a:lnTo>
                        <a:pt x="58120" y="413970"/>
                      </a:lnTo>
                      <a:lnTo>
                        <a:pt x="549430" y="413970"/>
                      </a:lnTo>
                      <a:lnTo>
                        <a:pt x="549430" y="108514"/>
                      </a:lnTo>
                      <a:close/>
                      <a:moveTo>
                        <a:pt x="27236" y="56079"/>
                      </a:moveTo>
                      <a:lnTo>
                        <a:pt x="27236" y="81319"/>
                      </a:lnTo>
                      <a:lnTo>
                        <a:pt x="580403" y="81319"/>
                      </a:lnTo>
                      <a:lnTo>
                        <a:pt x="580403" y="56079"/>
                      </a:lnTo>
                      <a:close/>
                      <a:moveTo>
                        <a:pt x="303775" y="0"/>
                      </a:moveTo>
                      <a:cubicBezTo>
                        <a:pt x="311341" y="0"/>
                        <a:pt x="317393" y="6132"/>
                        <a:pt x="317393" y="13597"/>
                      </a:cubicBezTo>
                      <a:lnTo>
                        <a:pt x="317393" y="28884"/>
                      </a:lnTo>
                      <a:lnTo>
                        <a:pt x="580403" y="28884"/>
                      </a:lnTo>
                      <a:cubicBezTo>
                        <a:pt x="595356" y="28884"/>
                        <a:pt x="607639" y="41148"/>
                        <a:pt x="607639" y="56079"/>
                      </a:cubicBezTo>
                      <a:lnTo>
                        <a:pt x="607639" y="81319"/>
                      </a:lnTo>
                      <a:cubicBezTo>
                        <a:pt x="607639" y="96338"/>
                        <a:pt x="595356" y="108514"/>
                        <a:pt x="580403" y="108514"/>
                      </a:cubicBezTo>
                      <a:lnTo>
                        <a:pt x="576665" y="108514"/>
                      </a:lnTo>
                      <a:lnTo>
                        <a:pt x="576665" y="413970"/>
                      </a:lnTo>
                      <a:cubicBezTo>
                        <a:pt x="576665" y="428990"/>
                        <a:pt x="564472" y="441165"/>
                        <a:pt x="549430" y="441165"/>
                      </a:cubicBezTo>
                      <a:lnTo>
                        <a:pt x="317393" y="441165"/>
                      </a:lnTo>
                      <a:lnTo>
                        <a:pt x="317393" y="481069"/>
                      </a:lnTo>
                      <a:lnTo>
                        <a:pt x="418236" y="554923"/>
                      </a:lnTo>
                      <a:cubicBezTo>
                        <a:pt x="424377" y="559366"/>
                        <a:pt x="425623" y="567898"/>
                        <a:pt x="421173" y="573942"/>
                      </a:cubicBezTo>
                      <a:cubicBezTo>
                        <a:pt x="418503" y="577585"/>
                        <a:pt x="414409" y="579452"/>
                        <a:pt x="410225" y="579452"/>
                      </a:cubicBezTo>
                      <a:cubicBezTo>
                        <a:pt x="407466" y="579452"/>
                        <a:pt x="404618" y="578652"/>
                        <a:pt x="402215" y="576874"/>
                      </a:cubicBezTo>
                      <a:lnTo>
                        <a:pt x="317393" y="514752"/>
                      </a:lnTo>
                      <a:lnTo>
                        <a:pt x="317393" y="565854"/>
                      </a:lnTo>
                      <a:cubicBezTo>
                        <a:pt x="317393" y="573408"/>
                        <a:pt x="311341" y="579452"/>
                        <a:pt x="303775" y="579452"/>
                      </a:cubicBezTo>
                      <a:cubicBezTo>
                        <a:pt x="296299" y="579452"/>
                        <a:pt x="290157" y="573408"/>
                        <a:pt x="290157" y="565854"/>
                      </a:cubicBezTo>
                      <a:lnTo>
                        <a:pt x="290157" y="514752"/>
                      </a:lnTo>
                      <a:lnTo>
                        <a:pt x="205424" y="576874"/>
                      </a:lnTo>
                      <a:cubicBezTo>
                        <a:pt x="199372" y="581318"/>
                        <a:pt x="190827" y="579985"/>
                        <a:pt x="186377" y="573942"/>
                      </a:cubicBezTo>
                      <a:cubicBezTo>
                        <a:pt x="181927" y="567898"/>
                        <a:pt x="183262" y="559366"/>
                        <a:pt x="189314" y="554923"/>
                      </a:cubicBezTo>
                      <a:lnTo>
                        <a:pt x="290157" y="481069"/>
                      </a:lnTo>
                      <a:lnTo>
                        <a:pt x="290157" y="441165"/>
                      </a:lnTo>
                      <a:lnTo>
                        <a:pt x="58120" y="441165"/>
                      </a:lnTo>
                      <a:cubicBezTo>
                        <a:pt x="43167" y="441165"/>
                        <a:pt x="30885" y="428990"/>
                        <a:pt x="30885" y="413970"/>
                      </a:cubicBezTo>
                      <a:lnTo>
                        <a:pt x="30885" y="108514"/>
                      </a:lnTo>
                      <a:lnTo>
                        <a:pt x="27236" y="108514"/>
                      </a:lnTo>
                      <a:cubicBezTo>
                        <a:pt x="12194" y="108514"/>
                        <a:pt x="0" y="96338"/>
                        <a:pt x="0" y="81319"/>
                      </a:cubicBezTo>
                      <a:lnTo>
                        <a:pt x="0" y="56079"/>
                      </a:lnTo>
                      <a:cubicBezTo>
                        <a:pt x="0" y="41148"/>
                        <a:pt x="12194" y="28884"/>
                        <a:pt x="27236" y="28884"/>
                      </a:cubicBezTo>
                      <a:lnTo>
                        <a:pt x="290157" y="28884"/>
                      </a:lnTo>
                      <a:lnTo>
                        <a:pt x="290157" y="13597"/>
                      </a:lnTo>
                      <a:cubicBezTo>
                        <a:pt x="290157" y="6132"/>
                        <a:pt x="296299" y="0"/>
                        <a:pt x="303775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 anchor="ctr"/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</p:grpSp>
        <p:sp>
          <p:nvSpPr>
            <p:cNvPr id="44" name="文本框 43">
              <a:extLst>
                <a:ext uri="{FF2B5EF4-FFF2-40B4-BE49-F238E27FC236}">
                  <a16:creationId xmlns:a16="http://schemas.microsoft.com/office/drawing/2014/main" id="{A7621963-6EA3-4472-9D5D-98C7682B1CAC}"/>
                </a:ext>
              </a:extLst>
            </p:cNvPr>
            <p:cNvSpPr txBox="1"/>
            <p:nvPr/>
          </p:nvSpPr>
          <p:spPr>
            <a:xfrm>
              <a:off x="7741184" y="5387079"/>
              <a:ext cx="3779304" cy="884684"/>
            </a:xfrm>
            <a:prstGeom prst="rect">
              <a:avLst/>
            </a:prstGeom>
            <a:noFill/>
          </p:spPr>
          <p:txBody>
            <a:bodyPr wrap="square" lIns="90000" tIns="46800" rIns="90000" bIns="46800" rtlCol="0">
              <a:normAutofit/>
            </a:bodyPr>
            <a:lstStyle/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900" dirty="0"/>
                <a:t>Supporting text here.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900" dirty="0"/>
                <a:t>You can use the icon library in </a:t>
              </a:r>
              <a:r>
                <a:rPr lang="en-US" altLang="zh-CN" sz="900" dirty="0" err="1"/>
                <a:t>OfficePLUS</a:t>
              </a:r>
              <a:r>
                <a:rPr lang="en-US" altLang="zh-CN" sz="900" dirty="0"/>
                <a:t>  (OfficePLUS) to filter and replace existing icon elements with one click.</a:t>
              </a:r>
              <a:endParaRPr lang="zh-CN" altLang="en-US" sz="900" dirty="0"/>
            </a:p>
          </p:txBody>
        </p:sp>
        <p:sp>
          <p:nvSpPr>
            <p:cNvPr id="45" name="文本框 44">
              <a:extLst>
                <a:ext uri="{FF2B5EF4-FFF2-40B4-BE49-F238E27FC236}">
                  <a16:creationId xmlns:a16="http://schemas.microsoft.com/office/drawing/2014/main" id="{E12042B5-55AB-40D8-9EA5-FB98EBB319F6}"/>
                </a:ext>
              </a:extLst>
            </p:cNvPr>
            <p:cNvSpPr txBox="1"/>
            <p:nvPr/>
          </p:nvSpPr>
          <p:spPr>
            <a:xfrm>
              <a:off x="7741184" y="4915258"/>
              <a:ext cx="3779304" cy="471820"/>
            </a:xfrm>
            <a:prstGeom prst="rect">
              <a:avLst/>
            </a:prstGeom>
            <a:noFill/>
          </p:spPr>
          <p:txBody>
            <a:bodyPr wrap="none" rtlCol="0" anchor="ctr">
              <a:normAutofit/>
            </a:bodyPr>
            <a:lstStyle/>
            <a:p>
              <a:pPr>
                <a:spcBef>
                  <a:spcPct val="0"/>
                </a:spcBef>
              </a:pPr>
              <a:r>
                <a:rPr lang="en-US" altLang="zh-CN" sz="1600" b="1" dirty="0"/>
                <a:t>…</a:t>
              </a:r>
              <a:r>
                <a:rPr lang="zh-CN" altLang="en-US" sz="1600" b="1" dirty="0"/>
                <a:t>方向阶段</a:t>
              </a:r>
            </a:p>
          </p:txBody>
        </p:sp>
        <p:cxnSp>
          <p:nvCxnSpPr>
            <p:cNvPr id="46" name="直接连接符 45">
              <a:extLst>
                <a:ext uri="{FF2B5EF4-FFF2-40B4-BE49-F238E27FC236}">
                  <a16:creationId xmlns:a16="http://schemas.microsoft.com/office/drawing/2014/main" id="{2D8E305D-E5AE-4F8C-91BD-1D3D7542F1DA}"/>
                </a:ext>
              </a:extLst>
            </p:cNvPr>
            <p:cNvCxnSpPr>
              <a:cxnSpLocks/>
            </p:cNvCxnSpPr>
            <p:nvPr/>
          </p:nvCxnSpPr>
          <p:spPr>
            <a:xfrm>
              <a:off x="7851000" y="2777460"/>
              <a:ext cx="3550873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直接连接符 46">
              <a:extLst>
                <a:ext uri="{FF2B5EF4-FFF2-40B4-BE49-F238E27FC236}">
                  <a16:creationId xmlns:a16="http://schemas.microsoft.com/office/drawing/2014/main" id="{243C7FE1-F7A8-44CE-8136-DEC5F7E67FDF}"/>
                </a:ext>
              </a:extLst>
            </p:cNvPr>
            <p:cNvCxnSpPr>
              <a:cxnSpLocks/>
            </p:cNvCxnSpPr>
            <p:nvPr/>
          </p:nvCxnSpPr>
          <p:spPr>
            <a:xfrm>
              <a:off x="7851000" y="4689000"/>
              <a:ext cx="3550873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36115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工作概述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工作回顾   工作计划   工作进度</a:t>
            </a:r>
            <a:endParaRPr lang="en-US" altLang="zh-CN" dirty="0"/>
          </a:p>
          <a:p>
            <a:r>
              <a:rPr lang="zh-CN" altLang="en-US" dirty="0"/>
              <a:t>完成情况   去年相比</a:t>
            </a:r>
            <a:endParaRPr lang="en-US" altLang="zh-CN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766951" y="330180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D484210-2E8D-46EA-918C-2F049BE5E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工作计划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BEBE919-3204-4FBC-8739-8E5A8F63977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CE50B08-FC14-499D-AC3C-0398A48E2C8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5930080-D616-43DE-8E22-FFAAD8766174}"/>
              </a:ext>
            </a:extLst>
          </p:cNvPr>
          <p:cNvGrpSpPr>
            <a:grpSpLocks noChangeAspect="1"/>
          </p:cNvGrpSpPr>
          <p:nvPr/>
        </p:nvGrpSpPr>
        <p:grpSpPr>
          <a:xfrm>
            <a:off x="-3017" y="1215151"/>
            <a:ext cx="12198033" cy="4918949"/>
            <a:chOff x="-6033" y="1179002"/>
            <a:chExt cx="12198033" cy="4918949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7C591428-E591-4C8D-8DF4-2D3E13FE8934}"/>
                </a:ext>
              </a:extLst>
            </p:cNvPr>
            <p:cNvCxnSpPr>
              <a:cxnSpLocks/>
            </p:cNvCxnSpPr>
            <p:nvPr/>
          </p:nvCxnSpPr>
          <p:spPr>
            <a:xfrm>
              <a:off x="-6033" y="3836093"/>
              <a:ext cx="12198033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837B8140-4864-4A50-ADA1-59465D61B081}"/>
                </a:ext>
              </a:extLst>
            </p:cNvPr>
            <p:cNvGrpSpPr/>
            <p:nvPr/>
          </p:nvGrpSpPr>
          <p:grpSpPr>
            <a:xfrm>
              <a:off x="4701003" y="1179002"/>
              <a:ext cx="6819490" cy="2657095"/>
              <a:chOff x="5282372" y="1943460"/>
              <a:chExt cx="6238116" cy="2430573"/>
            </a:xfrm>
          </p:grpSpPr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9B216E45-A910-49FD-AEC7-8EBCD4AAF30F}"/>
                  </a:ext>
                </a:extLst>
              </p:cNvPr>
              <p:cNvSpPr/>
              <p:nvPr/>
            </p:nvSpPr>
            <p:spPr bwMode="auto">
              <a:xfrm>
                <a:off x="6925332" y="2945193"/>
                <a:ext cx="2130716" cy="1428839"/>
              </a:xfrm>
              <a:custGeom>
                <a:avLst/>
                <a:gdLst>
                  <a:gd name="T0" fmla="*/ 648 w 648"/>
                  <a:gd name="T1" fmla="*/ 1082 h 1082"/>
                  <a:gd name="T2" fmla="*/ 0 w 648"/>
                  <a:gd name="T3" fmla="*/ 1082 h 1082"/>
                  <a:gd name="T4" fmla="*/ 140 w 648"/>
                  <a:gd name="T5" fmla="*/ 919 h 1082"/>
                  <a:gd name="T6" fmla="*/ 324 w 648"/>
                  <a:gd name="T7" fmla="*/ 0 h 1082"/>
                  <a:gd name="T8" fmla="*/ 508 w 648"/>
                  <a:gd name="T9" fmla="*/ 919 h 1082"/>
                  <a:gd name="T10" fmla="*/ 648 w 648"/>
                  <a:gd name="T11" fmla="*/ 1082 h 10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8" h="1082">
                    <a:moveTo>
                      <a:pt x="648" y="1082"/>
                    </a:moveTo>
                    <a:cubicBezTo>
                      <a:pt x="0" y="1082"/>
                      <a:pt x="0" y="1082"/>
                      <a:pt x="0" y="1082"/>
                    </a:cubicBezTo>
                    <a:cubicBezTo>
                      <a:pt x="4" y="1082"/>
                      <a:pt x="98" y="1080"/>
                      <a:pt x="140" y="919"/>
                    </a:cubicBezTo>
                    <a:cubicBezTo>
                      <a:pt x="182" y="755"/>
                      <a:pt x="223" y="0"/>
                      <a:pt x="324" y="0"/>
                    </a:cubicBezTo>
                    <a:cubicBezTo>
                      <a:pt x="425" y="0"/>
                      <a:pt x="466" y="755"/>
                      <a:pt x="508" y="919"/>
                    </a:cubicBezTo>
                    <a:cubicBezTo>
                      <a:pt x="550" y="1080"/>
                      <a:pt x="644" y="1082"/>
                      <a:pt x="648" y="1082"/>
                    </a:cubicBezTo>
                    <a:close/>
                  </a:path>
                </a:pathLst>
              </a:custGeom>
              <a:solidFill>
                <a:schemeClr val="accent3">
                  <a:alpha val="80000"/>
                </a:schemeClr>
              </a:solidFill>
              <a:ln>
                <a:noFill/>
              </a:ln>
              <a:effectLst/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sz="1600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D275CED8-F6FB-400F-8D71-3A4FE7FB77C9}"/>
                  </a:ext>
                </a:extLst>
              </p:cNvPr>
              <p:cNvSpPr/>
              <p:nvPr/>
            </p:nvSpPr>
            <p:spPr bwMode="auto">
              <a:xfrm>
                <a:off x="8568291" y="2820793"/>
                <a:ext cx="2130716" cy="1553240"/>
              </a:xfrm>
              <a:custGeom>
                <a:avLst/>
                <a:gdLst>
                  <a:gd name="T0" fmla="*/ 648 w 648"/>
                  <a:gd name="T1" fmla="*/ 1082 h 1082"/>
                  <a:gd name="T2" fmla="*/ 0 w 648"/>
                  <a:gd name="T3" fmla="*/ 1082 h 1082"/>
                  <a:gd name="T4" fmla="*/ 140 w 648"/>
                  <a:gd name="T5" fmla="*/ 919 h 1082"/>
                  <a:gd name="T6" fmla="*/ 324 w 648"/>
                  <a:gd name="T7" fmla="*/ 0 h 1082"/>
                  <a:gd name="T8" fmla="*/ 508 w 648"/>
                  <a:gd name="T9" fmla="*/ 919 h 1082"/>
                  <a:gd name="T10" fmla="*/ 648 w 648"/>
                  <a:gd name="T11" fmla="*/ 1082 h 10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8" h="1082">
                    <a:moveTo>
                      <a:pt x="648" y="1082"/>
                    </a:moveTo>
                    <a:cubicBezTo>
                      <a:pt x="0" y="1082"/>
                      <a:pt x="0" y="1082"/>
                      <a:pt x="0" y="1082"/>
                    </a:cubicBezTo>
                    <a:cubicBezTo>
                      <a:pt x="4" y="1082"/>
                      <a:pt x="98" y="1080"/>
                      <a:pt x="140" y="919"/>
                    </a:cubicBezTo>
                    <a:cubicBezTo>
                      <a:pt x="182" y="755"/>
                      <a:pt x="223" y="0"/>
                      <a:pt x="324" y="0"/>
                    </a:cubicBezTo>
                    <a:cubicBezTo>
                      <a:pt x="425" y="0"/>
                      <a:pt x="466" y="755"/>
                      <a:pt x="508" y="919"/>
                    </a:cubicBezTo>
                    <a:cubicBezTo>
                      <a:pt x="550" y="1080"/>
                      <a:pt x="644" y="1082"/>
                      <a:pt x="648" y="1082"/>
                    </a:cubicBezTo>
                    <a:close/>
                  </a:path>
                </a:pathLst>
              </a:custGeom>
              <a:solidFill>
                <a:schemeClr val="accent5">
                  <a:alpha val="80000"/>
                </a:schemeClr>
              </a:solidFill>
              <a:ln>
                <a:noFill/>
              </a:ln>
              <a:effectLst/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sz="1600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485634C5-9B2A-4372-BEC3-3BA44DFCF3C1}"/>
                  </a:ext>
                </a:extLst>
              </p:cNvPr>
              <p:cNvSpPr/>
              <p:nvPr/>
            </p:nvSpPr>
            <p:spPr bwMode="auto">
              <a:xfrm>
                <a:off x="9389772" y="3487290"/>
                <a:ext cx="2130716" cy="886742"/>
              </a:xfrm>
              <a:custGeom>
                <a:avLst/>
                <a:gdLst>
                  <a:gd name="T0" fmla="*/ 648 w 648"/>
                  <a:gd name="T1" fmla="*/ 1082 h 1082"/>
                  <a:gd name="T2" fmla="*/ 0 w 648"/>
                  <a:gd name="T3" fmla="*/ 1082 h 1082"/>
                  <a:gd name="T4" fmla="*/ 140 w 648"/>
                  <a:gd name="T5" fmla="*/ 919 h 1082"/>
                  <a:gd name="T6" fmla="*/ 324 w 648"/>
                  <a:gd name="T7" fmla="*/ 0 h 1082"/>
                  <a:gd name="T8" fmla="*/ 508 w 648"/>
                  <a:gd name="T9" fmla="*/ 919 h 1082"/>
                  <a:gd name="T10" fmla="*/ 648 w 648"/>
                  <a:gd name="T11" fmla="*/ 1082 h 10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8" h="1082">
                    <a:moveTo>
                      <a:pt x="648" y="1082"/>
                    </a:moveTo>
                    <a:cubicBezTo>
                      <a:pt x="0" y="1082"/>
                      <a:pt x="0" y="1082"/>
                      <a:pt x="0" y="1082"/>
                    </a:cubicBezTo>
                    <a:cubicBezTo>
                      <a:pt x="4" y="1082"/>
                      <a:pt x="98" y="1080"/>
                      <a:pt x="140" y="919"/>
                    </a:cubicBezTo>
                    <a:cubicBezTo>
                      <a:pt x="182" y="755"/>
                      <a:pt x="223" y="0"/>
                      <a:pt x="324" y="0"/>
                    </a:cubicBezTo>
                    <a:cubicBezTo>
                      <a:pt x="425" y="0"/>
                      <a:pt x="466" y="755"/>
                      <a:pt x="508" y="919"/>
                    </a:cubicBezTo>
                    <a:cubicBezTo>
                      <a:pt x="550" y="1080"/>
                      <a:pt x="644" y="1082"/>
                      <a:pt x="648" y="1082"/>
                    </a:cubicBezTo>
                    <a:close/>
                  </a:path>
                </a:pathLst>
              </a:custGeom>
              <a:solidFill>
                <a:schemeClr val="accent6">
                  <a:alpha val="80000"/>
                </a:schemeClr>
              </a:solidFill>
              <a:ln>
                <a:noFill/>
              </a:ln>
              <a:effectLst/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sz="1600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92D93523-0FA7-488C-9E29-7C86878285CA}"/>
                  </a:ext>
                </a:extLst>
              </p:cNvPr>
              <p:cNvSpPr/>
              <p:nvPr/>
            </p:nvSpPr>
            <p:spPr bwMode="auto">
              <a:xfrm>
                <a:off x="6103853" y="3154042"/>
                <a:ext cx="2130716" cy="1219990"/>
              </a:xfrm>
              <a:custGeom>
                <a:avLst/>
                <a:gdLst>
                  <a:gd name="T0" fmla="*/ 648 w 648"/>
                  <a:gd name="T1" fmla="*/ 1082 h 1082"/>
                  <a:gd name="T2" fmla="*/ 0 w 648"/>
                  <a:gd name="T3" fmla="*/ 1082 h 1082"/>
                  <a:gd name="T4" fmla="*/ 140 w 648"/>
                  <a:gd name="T5" fmla="*/ 919 h 1082"/>
                  <a:gd name="T6" fmla="*/ 324 w 648"/>
                  <a:gd name="T7" fmla="*/ 0 h 1082"/>
                  <a:gd name="T8" fmla="*/ 508 w 648"/>
                  <a:gd name="T9" fmla="*/ 919 h 1082"/>
                  <a:gd name="T10" fmla="*/ 648 w 648"/>
                  <a:gd name="T11" fmla="*/ 1082 h 10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8" h="1082">
                    <a:moveTo>
                      <a:pt x="648" y="1082"/>
                    </a:moveTo>
                    <a:cubicBezTo>
                      <a:pt x="0" y="1082"/>
                      <a:pt x="0" y="1082"/>
                      <a:pt x="0" y="1082"/>
                    </a:cubicBezTo>
                    <a:cubicBezTo>
                      <a:pt x="4" y="1082"/>
                      <a:pt x="98" y="1080"/>
                      <a:pt x="140" y="919"/>
                    </a:cubicBezTo>
                    <a:cubicBezTo>
                      <a:pt x="182" y="755"/>
                      <a:pt x="223" y="0"/>
                      <a:pt x="324" y="0"/>
                    </a:cubicBezTo>
                    <a:cubicBezTo>
                      <a:pt x="425" y="0"/>
                      <a:pt x="466" y="755"/>
                      <a:pt x="508" y="919"/>
                    </a:cubicBezTo>
                    <a:cubicBezTo>
                      <a:pt x="550" y="1080"/>
                      <a:pt x="644" y="1082"/>
                      <a:pt x="648" y="1082"/>
                    </a:cubicBezTo>
                    <a:close/>
                  </a:path>
                </a:pathLst>
              </a:custGeom>
              <a:solidFill>
                <a:schemeClr val="accent2">
                  <a:alpha val="80000"/>
                </a:schemeClr>
              </a:solidFill>
              <a:ln>
                <a:noFill/>
              </a:ln>
              <a:effectLst/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sz="1600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813CC3DD-A20D-4068-B545-7C785F155CC4}"/>
                  </a:ext>
                </a:extLst>
              </p:cNvPr>
              <p:cNvSpPr/>
              <p:nvPr/>
            </p:nvSpPr>
            <p:spPr bwMode="auto">
              <a:xfrm>
                <a:off x="5282372" y="3576819"/>
                <a:ext cx="2130716" cy="797214"/>
              </a:xfrm>
              <a:custGeom>
                <a:avLst/>
                <a:gdLst>
                  <a:gd name="T0" fmla="*/ 648 w 648"/>
                  <a:gd name="T1" fmla="*/ 1082 h 1082"/>
                  <a:gd name="T2" fmla="*/ 0 w 648"/>
                  <a:gd name="T3" fmla="*/ 1082 h 1082"/>
                  <a:gd name="T4" fmla="*/ 140 w 648"/>
                  <a:gd name="T5" fmla="*/ 919 h 1082"/>
                  <a:gd name="T6" fmla="*/ 324 w 648"/>
                  <a:gd name="T7" fmla="*/ 0 h 1082"/>
                  <a:gd name="T8" fmla="*/ 508 w 648"/>
                  <a:gd name="T9" fmla="*/ 919 h 1082"/>
                  <a:gd name="T10" fmla="*/ 648 w 648"/>
                  <a:gd name="T11" fmla="*/ 1082 h 10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8" h="1082">
                    <a:moveTo>
                      <a:pt x="648" y="1082"/>
                    </a:moveTo>
                    <a:cubicBezTo>
                      <a:pt x="0" y="1082"/>
                      <a:pt x="0" y="1082"/>
                      <a:pt x="0" y="1082"/>
                    </a:cubicBezTo>
                    <a:cubicBezTo>
                      <a:pt x="4" y="1082"/>
                      <a:pt x="98" y="1080"/>
                      <a:pt x="140" y="919"/>
                    </a:cubicBezTo>
                    <a:cubicBezTo>
                      <a:pt x="182" y="755"/>
                      <a:pt x="223" y="0"/>
                      <a:pt x="324" y="0"/>
                    </a:cubicBezTo>
                    <a:cubicBezTo>
                      <a:pt x="425" y="0"/>
                      <a:pt x="466" y="755"/>
                      <a:pt x="508" y="919"/>
                    </a:cubicBezTo>
                    <a:cubicBezTo>
                      <a:pt x="550" y="1080"/>
                      <a:pt x="644" y="1082"/>
                      <a:pt x="648" y="1082"/>
                    </a:cubicBezTo>
                    <a:close/>
                  </a:path>
                </a:pathLst>
              </a:custGeom>
              <a:solidFill>
                <a:schemeClr val="accent1">
                  <a:alpha val="80000"/>
                </a:schemeClr>
              </a:solidFill>
              <a:ln>
                <a:noFill/>
              </a:ln>
              <a:effectLst/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sz="1600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8E584F38-3893-4835-8B2D-DF215D1F6371}"/>
                  </a:ext>
                </a:extLst>
              </p:cNvPr>
              <p:cNvSpPr/>
              <p:nvPr/>
            </p:nvSpPr>
            <p:spPr bwMode="auto">
              <a:xfrm>
                <a:off x="7746812" y="2475849"/>
                <a:ext cx="2130716" cy="1898183"/>
              </a:xfrm>
              <a:custGeom>
                <a:avLst/>
                <a:gdLst>
                  <a:gd name="T0" fmla="*/ 648 w 648"/>
                  <a:gd name="T1" fmla="*/ 1082 h 1082"/>
                  <a:gd name="T2" fmla="*/ 0 w 648"/>
                  <a:gd name="T3" fmla="*/ 1082 h 1082"/>
                  <a:gd name="T4" fmla="*/ 140 w 648"/>
                  <a:gd name="T5" fmla="*/ 919 h 1082"/>
                  <a:gd name="T6" fmla="*/ 324 w 648"/>
                  <a:gd name="T7" fmla="*/ 0 h 1082"/>
                  <a:gd name="T8" fmla="*/ 508 w 648"/>
                  <a:gd name="T9" fmla="*/ 919 h 1082"/>
                  <a:gd name="T10" fmla="*/ 648 w 648"/>
                  <a:gd name="T11" fmla="*/ 1082 h 10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8" h="1082">
                    <a:moveTo>
                      <a:pt x="648" y="1082"/>
                    </a:moveTo>
                    <a:cubicBezTo>
                      <a:pt x="0" y="1082"/>
                      <a:pt x="0" y="1082"/>
                      <a:pt x="0" y="1082"/>
                    </a:cubicBezTo>
                    <a:cubicBezTo>
                      <a:pt x="4" y="1082"/>
                      <a:pt x="98" y="1080"/>
                      <a:pt x="140" y="919"/>
                    </a:cubicBezTo>
                    <a:cubicBezTo>
                      <a:pt x="182" y="755"/>
                      <a:pt x="223" y="0"/>
                      <a:pt x="324" y="0"/>
                    </a:cubicBezTo>
                    <a:cubicBezTo>
                      <a:pt x="425" y="0"/>
                      <a:pt x="466" y="755"/>
                      <a:pt x="508" y="919"/>
                    </a:cubicBezTo>
                    <a:cubicBezTo>
                      <a:pt x="550" y="1080"/>
                      <a:pt x="644" y="1082"/>
                      <a:pt x="648" y="1082"/>
                    </a:cubicBezTo>
                    <a:close/>
                  </a:path>
                </a:pathLst>
              </a:custGeom>
              <a:solidFill>
                <a:schemeClr val="accent4">
                  <a:alpha val="80000"/>
                </a:schemeClr>
              </a:solidFill>
              <a:ln>
                <a:noFill/>
              </a:ln>
              <a:effectLst/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sz="1600"/>
              </a:p>
            </p:txBody>
          </p:sp>
          <p:grpSp>
            <p:nvGrpSpPr>
              <p:cNvPr id="59" name="组合 58">
                <a:extLst>
                  <a:ext uri="{FF2B5EF4-FFF2-40B4-BE49-F238E27FC236}">
                    <a16:creationId xmlns:a16="http://schemas.microsoft.com/office/drawing/2014/main" id="{F289B1DD-F5DE-448F-8F39-4F0BBFBDF82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190723" y="3045327"/>
                <a:ext cx="323037" cy="486728"/>
                <a:chOff x="0" y="0"/>
                <a:chExt cx="300" cy="450"/>
              </a:xfrm>
            </p:grpSpPr>
            <p:sp>
              <p:nvSpPr>
                <p:cNvPr id="75" name="任意多边形: 形状 74">
                  <a:extLst>
                    <a:ext uri="{FF2B5EF4-FFF2-40B4-BE49-F238E27FC236}">
                      <a16:creationId xmlns:a16="http://schemas.microsoft.com/office/drawing/2014/main" id="{379088F6-77C7-4880-BC44-4D7C1F1569BC}"/>
                    </a:ext>
                  </a:extLst>
                </p:cNvPr>
                <p:cNvSpPr/>
                <p:nvPr/>
              </p:nvSpPr>
              <p:spPr bwMode="auto">
                <a:xfrm>
                  <a:off x="0" y="0"/>
                  <a:ext cx="300" cy="450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w 21600"/>
                    <a:gd name="T13" fmla="*/ 0 h 21600"/>
                    <a:gd name="T14" fmla="*/ 0 w 21600"/>
                    <a:gd name="T15" fmla="*/ 0 h 2160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1600" h="21600">
                      <a:moveTo>
                        <a:pt x="10800" y="21600"/>
                      </a:moveTo>
                      <a:lnTo>
                        <a:pt x="1501" y="10863"/>
                      </a:lnTo>
                      <a:cubicBezTo>
                        <a:pt x="566" y="9783"/>
                        <a:pt x="0" y="8538"/>
                        <a:pt x="0" y="7200"/>
                      </a:cubicBezTo>
                      <a:cubicBezTo>
                        <a:pt x="0" y="3223"/>
                        <a:pt x="4836" y="0"/>
                        <a:pt x="10800" y="0"/>
                      </a:cubicBezTo>
                      <a:cubicBezTo>
                        <a:pt x="16765" y="0"/>
                        <a:pt x="21600" y="3223"/>
                        <a:pt x="21600" y="7200"/>
                      </a:cubicBezTo>
                      <a:cubicBezTo>
                        <a:pt x="21600" y="8538"/>
                        <a:pt x="21035" y="9783"/>
                        <a:pt x="20099" y="10863"/>
                      </a:cubicBezTo>
                      <a:lnTo>
                        <a:pt x="10800" y="21600"/>
                      </a:lnTo>
                      <a:close/>
                      <a:moveTo>
                        <a:pt x="10800" y="21600"/>
                      </a:moveTo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none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sz="1600"/>
                </a:p>
              </p:txBody>
            </p:sp>
            <p:sp>
              <p:nvSpPr>
                <p:cNvPr id="76" name="任意多边形: 形状 75">
                  <a:extLst>
                    <a:ext uri="{FF2B5EF4-FFF2-40B4-BE49-F238E27FC236}">
                      <a16:creationId xmlns:a16="http://schemas.microsoft.com/office/drawing/2014/main" id="{6D6504B4-6396-448B-82EA-A567E27405DC}"/>
                    </a:ext>
                  </a:extLst>
                </p:cNvPr>
                <p:cNvSpPr/>
                <p:nvPr/>
              </p:nvSpPr>
              <p:spPr bwMode="auto">
                <a:xfrm>
                  <a:off x="39" y="39"/>
                  <a:ext cx="213" cy="213"/>
                </a:xfrm>
                <a:custGeom>
                  <a:avLst/>
                  <a:gdLst>
                    <a:gd name="T0" fmla="*/ 0 w 21598"/>
                    <a:gd name="T1" fmla="*/ 0 h 21598"/>
                    <a:gd name="T2" fmla="*/ 0 w 21598"/>
                    <a:gd name="T3" fmla="*/ 0 h 21598"/>
                    <a:gd name="T4" fmla="*/ 0 w 21598"/>
                    <a:gd name="T5" fmla="*/ 0 h 21598"/>
                    <a:gd name="T6" fmla="*/ 0 w 21598"/>
                    <a:gd name="T7" fmla="*/ 0 h 21598"/>
                    <a:gd name="T8" fmla="*/ 0 w 21598"/>
                    <a:gd name="T9" fmla="*/ 0 h 21598"/>
                    <a:gd name="T10" fmla="*/ 0 w 21598"/>
                    <a:gd name="T11" fmla="*/ 0 h 21598"/>
                    <a:gd name="T12" fmla="*/ 0 w 21598"/>
                    <a:gd name="T13" fmla="*/ 0 h 21598"/>
                    <a:gd name="T14" fmla="*/ 0 w 21598"/>
                    <a:gd name="T15" fmla="*/ 0 h 21598"/>
                    <a:gd name="T16" fmla="*/ 0 w 21598"/>
                    <a:gd name="T17" fmla="*/ 0 h 21598"/>
                    <a:gd name="T18" fmla="*/ 0 w 21598"/>
                    <a:gd name="T19" fmla="*/ 0 h 21598"/>
                    <a:gd name="T20" fmla="*/ 0 w 21598"/>
                    <a:gd name="T21" fmla="*/ 0 h 21598"/>
                    <a:gd name="T22" fmla="*/ 0 w 21598"/>
                    <a:gd name="T23" fmla="*/ 0 h 21598"/>
                    <a:gd name="T24" fmla="*/ 0 w 21598"/>
                    <a:gd name="T25" fmla="*/ 0 h 21598"/>
                    <a:gd name="T26" fmla="*/ 0 w 21598"/>
                    <a:gd name="T27" fmla="*/ 0 h 21598"/>
                    <a:gd name="T28" fmla="*/ 0 w 21598"/>
                    <a:gd name="T29" fmla="*/ 0 h 21598"/>
                    <a:gd name="T30" fmla="*/ 0 w 21598"/>
                    <a:gd name="T31" fmla="*/ 0 h 21598"/>
                    <a:gd name="T32" fmla="*/ 0 w 21598"/>
                    <a:gd name="T33" fmla="*/ 0 h 21598"/>
                    <a:gd name="T34" fmla="*/ 0 w 21598"/>
                    <a:gd name="T35" fmla="*/ 0 h 21598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21598" h="21598">
                      <a:moveTo>
                        <a:pt x="21598" y="10799"/>
                      </a:moveTo>
                      <a:cubicBezTo>
                        <a:pt x="21599" y="9385"/>
                        <a:pt x="21318" y="7972"/>
                        <a:pt x="20776" y="6666"/>
                      </a:cubicBezTo>
                      <a:cubicBezTo>
                        <a:pt x="20236" y="5360"/>
                        <a:pt x="19435" y="4162"/>
                        <a:pt x="18435" y="3163"/>
                      </a:cubicBezTo>
                      <a:cubicBezTo>
                        <a:pt x="17436" y="2163"/>
                        <a:pt x="16238" y="1362"/>
                        <a:pt x="14932" y="822"/>
                      </a:cubicBezTo>
                      <a:cubicBezTo>
                        <a:pt x="13626" y="280"/>
                        <a:pt x="12213" y="-1"/>
                        <a:pt x="10799" y="0"/>
                      </a:cubicBezTo>
                      <a:cubicBezTo>
                        <a:pt x="9385" y="-1"/>
                        <a:pt x="7972" y="280"/>
                        <a:pt x="6666" y="822"/>
                      </a:cubicBezTo>
                      <a:cubicBezTo>
                        <a:pt x="5360" y="1362"/>
                        <a:pt x="4162" y="2163"/>
                        <a:pt x="3163" y="3163"/>
                      </a:cubicBezTo>
                      <a:cubicBezTo>
                        <a:pt x="2163" y="4162"/>
                        <a:pt x="1362" y="5360"/>
                        <a:pt x="822" y="6666"/>
                      </a:cubicBezTo>
                      <a:cubicBezTo>
                        <a:pt x="280" y="7972"/>
                        <a:pt x="-1" y="9385"/>
                        <a:pt x="0" y="10799"/>
                      </a:cubicBezTo>
                      <a:cubicBezTo>
                        <a:pt x="-1" y="12213"/>
                        <a:pt x="280" y="13626"/>
                        <a:pt x="822" y="14932"/>
                      </a:cubicBezTo>
                      <a:cubicBezTo>
                        <a:pt x="1362" y="16238"/>
                        <a:pt x="2163" y="17436"/>
                        <a:pt x="3163" y="18435"/>
                      </a:cubicBezTo>
                      <a:cubicBezTo>
                        <a:pt x="4162" y="19435"/>
                        <a:pt x="5360" y="20236"/>
                        <a:pt x="6666" y="20776"/>
                      </a:cubicBezTo>
                      <a:cubicBezTo>
                        <a:pt x="7972" y="21318"/>
                        <a:pt x="9385" y="21599"/>
                        <a:pt x="10799" y="21598"/>
                      </a:cubicBezTo>
                      <a:cubicBezTo>
                        <a:pt x="12213" y="21599"/>
                        <a:pt x="13626" y="21318"/>
                        <a:pt x="14932" y="20776"/>
                      </a:cubicBezTo>
                      <a:cubicBezTo>
                        <a:pt x="16238" y="20236"/>
                        <a:pt x="17436" y="19435"/>
                        <a:pt x="18435" y="18435"/>
                      </a:cubicBezTo>
                      <a:cubicBezTo>
                        <a:pt x="19435" y="17436"/>
                        <a:pt x="20236" y="16238"/>
                        <a:pt x="20776" y="14932"/>
                      </a:cubicBezTo>
                      <a:cubicBezTo>
                        <a:pt x="21318" y="13626"/>
                        <a:pt x="21599" y="12213"/>
                        <a:pt x="21598" y="10799"/>
                      </a:cubicBezTo>
                      <a:close/>
                      <a:moveTo>
                        <a:pt x="21598" y="10799"/>
                      </a:move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none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sz="900" b="1" dirty="0"/>
                    <a:t>35%</a:t>
                  </a:r>
                  <a:endParaRPr sz="900" b="1" dirty="0"/>
                </a:p>
              </p:txBody>
            </p:sp>
          </p:grpSp>
          <p:grpSp>
            <p:nvGrpSpPr>
              <p:cNvPr id="60" name="组合 59">
                <a:extLst>
                  <a:ext uri="{FF2B5EF4-FFF2-40B4-BE49-F238E27FC236}">
                    <a16:creationId xmlns:a16="http://schemas.microsoft.com/office/drawing/2014/main" id="{F1E5E3C9-7A18-42AD-8E97-8037531B7BF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011375" y="2629142"/>
                <a:ext cx="323037" cy="486728"/>
                <a:chOff x="0" y="0"/>
                <a:chExt cx="300" cy="450"/>
              </a:xfrm>
            </p:grpSpPr>
            <p:sp>
              <p:nvSpPr>
                <p:cNvPr id="73" name="任意多边形: 形状 72">
                  <a:extLst>
                    <a:ext uri="{FF2B5EF4-FFF2-40B4-BE49-F238E27FC236}">
                      <a16:creationId xmlns:a16="http://schemas.microsoft.com/office/drawing/2014/main" id="{FF90324C-E0D0-4737-94DD-24A6F7B9D779}"/>
                    </a:ext>
                  </a:extLst>
                </p:cNvPr>
                <p:cNvSpPr/>
                <p:nvPr/>
              </p:nvSpPr>
              <p:spPr bwMode="auto">
                <a:xfrm>
                  <a:off x="0" y="0"/>
                  <a:ext cx="300" cy="450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w 21600"/>
                    <a:gd name="T13" fmla="*/ 0 h 21600"/>
                    <a:gd name="T14" fmla="*/ 0 w 21600"/>
                    <a:gd name="T15" fmla="*/ 0 h 2160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1600" h="21600">
                      <a:moveTo>
                        <a:pt x="10800" y="21600"/>
                      </a:moveTo>
                      <a:lnTo>
                        <a:pt x="1501" y="10863"/>
                      </a:lnTo>
                      <a:cubicBezTo>
                        <a:pt x="566" y="9783"/>
                        <a:pt x="0" y="8538"/>
                        <a:pt x="0" y="7200"/>
                      </a:cubicBezTo>
                      <a:cubicBezTo>
                        <a:pt x="0" y="3223"/>
                        <a:pt x="4836" y="0"/>
                        <a:pt x="10800" y="0"/>
                      </a:cubicBezTo>
                      <a:cubicBezTo>
                        <a:pt x="16765" y="0"/>
                        <a:pt x="21600" y="3223"/>
                        <a:pt x="21600" y="7200"/>
                      </a:cubicBezTo>
                      <a:cubicBezTo>
                        <a:pt x="21600" y="8538"/>
                        <a:pt x="21035" y="9783"/>
                        <a:pt x="20099" y="10863"/>
                      </a:cubicBezTo>
                      <a:lnTo>
                        <a:pt x="10800" y="21600"/>
                      </a:lnTo>
                      <a:close/>
                      <a:moveTo>
                        <a:pt x="10800" y="21600"/>
                      </a:moveTo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none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sz="1600"/>
                </a:p>
              </p:txBody>
            </p:sp>
            <p:sp>
              <p:nvSpPr>
                <p:cNvPr id="74" name="任意多边形: 形状 73">
                  <a:extLst>
                    <a:ext uri="{FF2B5EF4-FFF2-40B4-BE49-F238E27FC236}">
                      <a16:creationId xmlns:a16="http://schemas.microsoft.com/office/drawing/2014/main" id="{41B613F2-5350-45FE-8408-A20530D79CA6}"/>
                    </a:ext>
                  </a:extLst>
                </p:cNvPr>
                <p:cNvSpPr/>
                <p:nvPr/>
              </p:nvSpPr>
              <p:spPr bwMode="auto">
                <a:xfrm>
                  <a:off x="39" y="39"/>
                  <a:ext cx="213" cy="213"/>
                </a:xfrm>
                <a:custGeom>
                  <a:avLst/>
                  <a:gdLst>
                    <a:gd name="T0" fmla="*/ 0 w 21598"/>
                    <a:gd name="T1" fmla="*/ 0 h 21598"/>
                    <a:gd name="T2" fmla="*/ 0 w 21598"/>
                    <a:gd name="T3" fmla="*/ 0 h 21598"/>
                    <a:gd name="T4" fmla="*/ 0 w 21598"/>
                    <a:gd name="T5" fmla="*/ 0 h 21598"/>
                    <a:gd name="T6" fmla="*/ 0 w 21598"/>
                    <a:gd name="T7" fmla="*/ 0 h 21598"/>
                    <a:gd name="T8" fmla="*/ 0 w 21598"/>
                    <a:gd name="T9" fmla="*/ 0 h 21598"/>
                    <a:gd name="T10" fmla="*/ 0 w 21598"/>
                    <a:gd name="T11" fmla="*/ 0 h 21598"/>
                    <a:gd name="T12" fmla="*/ 0 w 21598"/>
                    <a:gd name="T13" fmla="*/ 0 h 21598"/>
                    <a:gd name="T14" fmla="*/ 0 w 21598"/>
                    <a:gd name="T15" fmla="*/ 0 h 21598"/>
                    <a:gd name="T16" fmla="*/ 0 w 21598"/>
                    <a:gd name="T17" fmla="*/ 0 h 21598"/>
                    <a:gd name="T18" fmla="*/ 0 w 21598"/>
                    <a:gd name="T19" fmla="*/ 0 h 21598"/>
                    <a:gd name="T20" fmla="*/ 0 w 21598"/>
                    <a:gd name="T21" fmla="*/ 0 h 21598"/>
                    <a:gd name="T22" fmla="*/ 0 w 21598"/>
                    <a:gd name="T23" fmla="*/ 0 h 21598"/>
                    <a:gd name="T24" fmla="*/ 0 w 21598"/>
                    <a:gd name="T25" fmla="*/ 0 h 21598"/>
                    <a:gd name="T26" fmla="*/ 0 w 21598"/>
                    <a:gd name="T27" fmla="*/ 0 h 21598"/>
                    <a:gd name="T28" fmla="*/ 0 w 21598"/>
                    <a:gd name="T29" fmla="*/ 0 h 21598"/>
                    <a:gd name="T30" fmla="*/ 0 w 21598"/>
                    <a:gd name="T31" fmla="*/ 0 h 21598"/>
                    <a:gd name="T32" fmla="*/ 0 w 21598"/>
                    <a:gd name="T33" fmla="*/ 0 h 21598"/>
                    <a:gd name="T34" fmla="*/ 0 w 21598"/>
                    <a:gd name="T35" fmla="*/ 0 h 21598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21598" h="21598">
                      <a:moveTo>
                        <a:pt x="21598" y="10799"/>
                      </a:moveTo>
                      <a:cubicBezTo>
                        <a:pt x="21599" y="9385"/>
                        <a:pt x="21318" y="7972"/>
                        <a:pt x="20776" y="6666"/>
                      </a:cubicBezTo>
                      <a:cubicBezTo>
                        <a:pt x="20236" y="5360"/>
                        <a:pt x="19435" y="4162"/>
                        <a:pt x="18435" y="3163"/>
                      </a:cubicBezTo>
                      <a:cubicBezTo>
                        <a:pt x="17436" y="2163"/>
                        <a:pt x="16238" y="1362"/>
                        <a:pt x="14932" y="822"/>
                      </a:cubicBezTo>
                      <a:cubicBezTo>
                        <a:pt x="13626" y="280"/>
                        <a:pt x="12213" y="-1"/>
                        <a:pt x="10799" y="0"/>
                      </a:cubicBezTo>
                      <a:cubicBezTo>
                        <a:pt x="9385" y="-1"/>
                        <a:pt x="7972" y="280"/>
                        <a:pt x="6666" y="822"/>
                      </a:cubicBezTo>
                      <a:cubicBezTo>
                        <a:pt x="5360" y="1362"/>
                        <a:pt x="4162" y="2163"/>
                        <a:pt x="3163" y="3163"/>
                      </a:cubicBezTo>
                      <a:cubicBezTo>
                        <a:pt x="2163" y="4162"/>
                        <a:pt x="1362" y="5360"/>
                        <a:pt x="822" y="6666"/>
                      </a:cubicBezTo>
                      <a:cubicBezTo>
                        <a:pt x="280" y="7972"/>
                        <a:pt x="-1" y="9385"/>
                        <a:pt x="0" y="10799"/>
                      </a:cubicBezTo>
                      <a:cubicBezTo>
                        <a:pt x="-1" y="12213"/>
                        <a:pt x="280" y="13626"/>
                        <a:pt x="822" y="14932"/>
                      </a:cubicBezTo>
                      <a:cubicBezTo>
                        <a:pt x="1362" y="16238"/>
                        <a:pt x="2163" y="17436"/>
                        <a:pt x="3163" y="18435"/>
                      </a:cubicBezTo>
                      <a:cubicBezTo>
                        <a:pt x="4162" y="19435"/>
                        <a:pt x="5360" y="20236"/>
                        <a:pt x="6666" y="20776"/>
                      </a:cubicBezTo>
                      <a:cubicBezTo>
                        <a:pt x="7972" y="21318"/>
                        <a:pt x="9385" y="21599"/>
                        <a:pt x="10799" y="21598"/>
                      </a:cubicBezTo>
                      <a:cubicBezTo>
                        <a:pt x="12213" y="21599"/>
                        <a:pt x="13626" y="21318"/>
                        <a:pt x="14932" y="20776"/>
                      </a:cubicBezTo>
                      <a:cubicBezTo>
                        <a:pt x="16238" y="20236"/>
                        <a:pt x="17436" y="19435"/>
                        <a:pt x="18435" y="18435"/>
                      </a:cubicBezTo>
                      <a:cubicBezTo>
                        <a:pt x="19435" y="17436"/>
                        <a:pt x="20236" y="16238"/>
                        <a:pt x="20776" y="14932"/>
                      </a:cubicBezTo>
                      <a:cubicBezTo>
                        <a:pt x="21318" y="13626"/>
                        <a:pt x="21599" y="12213"/>
                        <a:pt x="21598" y="10799"/>
                      </a:cubicBezTo>
                      <a:close/>
                      <a:moveTo>
                        <a:pt x="21598" y="10799"/>
                      </a:move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none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sz="900" b="1" dirty="0"/>
                    <a:t>46%</a:t>
                  </a:r>
                  <a:endParaRPr sz="900" b="1" dirty="0"/>
                </a:p>
              </p:txBody>
            </p:sp>
          </p:grpSp>
          <p:grpSp>
            <p:nvGrpSpPr>
              <p:cNvPr id="61" name="组合 60">
                <a:extLst>
                  <a:ext uri="{FF2B5EF4-FFF2-40B4-BE49-F238E27FC236}">
                    <a16:creationId xmlns:a16="http://schemas.microsoft.com/office/drawing/2014/main" id="{E9538F94-055B-4B2B-940C-FF3AE32BBD3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832027" y="2415267"/>
                <a:ext cx="323037" cy="486728"/>
                <a:chOff x="0" y="0"/>
                <a:chExt cx="300" cy="450"/>
              </a:xfrm>
            </p:grpSpPr>
            <p:sp>
              <p:nvSpPr>
                <p:cNvPr id="71" name="任意多边形: 形状 70">
                  <a:extLst>
                    <a:ext uri="{FF2B5EF4-FFF2-40B4-BE49-F238E27FC236}">
                      <a16:creationId xmlns:a16="http://schemas.microsoft.com/office/drawing/2014/main" id="{C088BBF0-543A-4A03-9C90-3AD6DB6D4E92}"/>
                    </a:ext>
                  </a:extLst>
                </p:cNvPr>
                <p:cNvSpPr/>
                <p:nvPr/>
              </p:nvSpPr>
              <p:spPr bwMode="auto">
                <a:xfrm>
                  <a:off x="0" y="0"/>
                  <a:ext cx="300" cy="450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w 21600"/>
                    <a:gd name="T13" fmla="*/ 0 h 21600"/>
                    <a:gd name="T14" fmla="*/ 0 w 21600"/>
                    <a:gd name="T15" fmla="*/ 0 h 2160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1600" h="21600">
                      <a:moveTo>
                        <a:pt x="10800" y="21600"/>
                      </a:moveTo>
                      <a:lnTo>
                        <a:pt x="1501" y="10863"/>
                      </a:lnTo>
                      <a:cubicBezTo>
                        <a:pt x="566" y="9783"/>
                        <a:pt x="0" y="8538"/>
                        <a:pt x="0" y="7200"/>
                      </a:cubicBezTo>
                      <a:cubicBezTo>
                        <a:pt x="0" y="3223"/>
                        <a:pt x="4836" y="0"/>
                        <a:pt x="10800" y="0"/>
                      </a:cubicBezTo>
                      <a:cubicBezTo>
                        <a:pt x="16765" y="0"/>
                        <a:pt x="21600" y="3223"/>
                        <a:pt x="21600" y="7200"/>
                      </a:cubicBezTo>
                      <a:cubicBezTo>
                        <a:pt x="21600" y="8538"/>
                        <a:pt x="21035" y="9783"/>
                        <a:pt x="20099" y="10863"/>
                      </a:cubicBezTo>
                      <a:lnTo>
                        <a:pt x="10800" y="21600"/>
                      </a:lnTo>
                      <a:close/>
                      <a:moveTo>
                        <a:pt x="10800" y="21600"/>
                      </a:moveTo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  <a:extLst>
                  <a:ext uri="{91240B29-F687-4f45-9708-019B960494DF}">
  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none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sz="1600"/>
                </a:p>
              </p:txBody>
            </p:sp>
            <p:sp>
              <p:nvSpPr>
                <p:cNvPr id="72" name="任意多边形: 形状 71">
                  <a:extLst>
                    <a:ext uri="{FF2B5EF4-FFF2-40B4-BE49-F238E27FC236}">
                      <a16:creationId xmlns:a16="http://schemas.microsoft.com/office/drawing/2014/main" id="{AEDE1F4F-BF57-4F9C-A03C-5BD0D1E70A04}"/>
                    </a:ext>
                  </a:extLst>
                </p:cNvPr>
                <p:cNvSpPr/>
                <p:nvPr/>
              </p:nvSpPr>
              <p:spPr bwMode="auto">
                <a:xfrm>
                  <a:off x="39" y="39"/>
                  <a:ext cx="213" cy="213"/>
                </a:xfrm>
                <a:custGeom>
                  <a:avLst/>
                  <a:gdLst>
                    <a:gd name="T0" fmla="*/ 0 w 21598"/>
                    <a:gd name="T1" fmla="*/ 0 h 21598"/>
                    <a:gd name="T2" fmla="*/ 0 w 21598"/>
                    <a:gd name="T3" fmla="*/ 0 h 21598"/>
                    <a:gd name="T4" fmla="*/ 0 w 21598"/>
                    <a:gd name="T5" fmla="*/ 0 h 21598"/>
                    <a:gd name="T6" fmla="*/ 0 w 21598"/>
                    <a:gd name="T7" fmla="*/ 0 h 21598"/>
                    <a:gd name="T8" fmla="*/ 0 w 21598"/>
                    <a:gd name="T9" fmla="*/ 0 h 21598"/>
                    <a:gd name="T10" fmla="*/ 0 w 21598"/>
                    <a:gd name="T11" fmla="*/ 0 h 21598"/>
                    <a:gd name="T12" fmla="*/ 0 w 21598"/>
                    <a:gd name="T13" fmla="*/ 0 h 21598"/>
                    <a:gd name="T14" fmla="*/ 0 w 21598"/>
                    <a:gd name="T15" fmla="*/ 0 h 21598"/>
                    <a:gd name="T16" fmla="*/ 0 w 21598"/>
                    <a:gd name="T17" fmla="*/ 0 h 21598"/>
                    <a:gd name="T18" fmla="*/ 0 w 21598"/>
                    <a:gd name="T19" fmla="*/ 0 h 21598"/>
                    <a:gd name="T20" fmla="*/ 0 w 21598"/>
                    <a:gd name="T21" fmla="*/ 0 h 21598"/>
                    <a:gd name="T22" fmla="*/ 0 w 21598"/>
                    <a:gd name="T23" fmla="*/ 0 h 21598"/>
                    <a:gd name="T24" fmla="*/ 0 w 21598"/>
                    <a:gd name="T25" fmla="*/ 0 h 21598"/>
                    <a:gd name="T26" fmla="*/ 0 w 21598"/>
                    <a:gd name="T27" fmla="*/ 0 h 21598"/>
                    <a:gd name="T28" fmla="*/ 0 w 21598"/>
                    <a:gd name="T29" fmla="*/ 0 h 21598"/>
                    <a:gd name="T30" fmla="*/ 0 w 21598"/>
                    <a:gd name="T31" fmla="*/ 0 h 21598"/>
                    <a:gd name="T32" fmla="*/ 0 w 21598"/>
                    <a:gd name="T33" fmla="*/ 0 h 21598"/>
                    <a:gd name="T34" fmla="*/ 0 w 21598"/>
                    <a:gd name="T35" fmla="*/ 0 h 21598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21598" h="21598">
                      <a:moveTo>
                        <a:pt x="21598" y="10799"/>
                      </a:moveTo>
                      <a:cubicBezTo>
                        <a:pt x="21599" y="9385"/>
                        <a:pt x="21318" y="7972"/>
                        <a:pt x="20776" y="6666"/>
                      </a:cubicBezTo>
                      <a:cubicBezTo>
                        <a:pt x="20236" y="5360"/>
                        <a:pt x="19435" y="4162"/>
                        <a:pt x="18435" y="3163"/>
                      </a:cubicBezTo>
                      <a:cubicBezTo>
                        <a:pt x="17436" y="2163"/>
                        <a:pt x="16238" y="1362"/>
                        <a:pt x="14932" y="822"/>
                      </a:cubicBezTo>
                      <a:cubicBezTo>
                        <a:pt x="13626" y="280"/>
                        <a:pt x="12213" y="-1"/>
                        <a:pt x="10799" y="0"/>
                      </a:cubicBezTo>
                      <a:cubicBezTo>
                        <a:pt x="9385" y="-1"/>
                        <a:pt x="7972" y="280"/>
                        <a:pt x="6666" y="822"/>
                      </a:cubicBezTo>
                      <a:cubicBezTo>
                        <a:pt x="5360" y="1362"/>
                        <a:pt x="4162" y="2163"/>
                        <a:pt x="3163" y="3163"/>
                      </a:cubicBezTo>
                      <a:cubicBezTo>
                        <a:pt x="2163" y="4162"/>
                        <a:pt x="1362" y="5360"/>
                        <a:pt x="822" y="6666"/>
                      </a:cubicBezTo>
                      <a:cubicBezTo>
                        <a:pt x="280" y="7972"/>
                        <a:pt x="-1" y="9385"/>
                        <a:pt x="0" y="10799"/>
                      </a:cubicBezTo>
                      <a:cubicBezTo>
                        <a:pt x="-1" y="12213"/>
                        <a:pt x="280" y="13626"/>
                        <a:pt x="822" y="14932"/>
                      </a:cubicBezTo>
                      <a:cubicBezTo>
                        <a:pt x="1362" y="16238"/>
                        <a:pt x="2163" y="17436"/>
                        <a:pt x="3163" y="18435"/>
                      </a:cubicBezTo>
                      <a:cubicBezTo>
                        <a:pt x="4162" y="19435"/>
                        <a:pt x="5360" y="20236"/>
                        <a:pt x="6666" y="20776"/>
                      </a:cubicBezTo>
                      <a:cubicBezTo>
                        <a:pt x="7972" y="21318"/>
                        <a:pt x="9385" y="21599"/>
                        <a:pt x="10799" y="21598"/>
                      </a:cubicBezTo>
                      <a:cubicBezTo>
                        <a:pt x="12213" y="21599"/>
                        <a:pt x="13626" y="21318"/>
                        <a:pt x="14932" y="20776"/>
                      </a:cubicBezTo>
                      <a:cubicBezTo>
                        <a:pt x="16238" y="20236"/>
                        <a:pt x="17436" y="19435"/>
                        <a:pt x="18435" y="18435"/>
                      </a:cubicBezTo>
                      <a:cubicBezTo>
                        <a:pt x="19435" y="17436"/>
                        <a:pt x="20236" y="16238"/>
                        <a:pt x="20776" y="14932"/>
                      </a:cubicBezTo>
                      <a:cubicBezTo>
                        <a:pt x="21318" y="13626"/>
                        <a:pt x="21599" y="12213"/>
                        <a:pt x="21598" y="10799"/>
                      </a:cubicBezTo>
                      <a:close/>
                      <a:moveTo>
                        <a:pt x="21598" y="10799"/>
                      </a:move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none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sz="900" b="1" dirty="0"/>
                    <a:t>62%</a:t>
                  </a:r>
                  <a:endParaRPr sz="900" b="1" dirty="0"/>
                </a:p>
              </p:txBody>
            </p:sp>
          </p:grpSp>
          <p:grpSp>
            <p:nvGrpSpPr>
              <p:cNvPr id="62" name="组合 61">
                <a:extLst>
                  <a:ext uri="{FF2B5EF4-FFF2-40B4-BE49-F238E27FC236}">
                    <a16:creationId xmlns:a16="http://schemas.microsoft.com/office/drawing/2014/main" id="{42C73444-2F60-4B36-999A-FE83B736B1E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8652679" y="1943460"/>
                <a:ext cx="323037" cy="486728"/>
                <a:chOff x="0" y="0"/>
                <a:chExt cx="300" cy="450"/>
              </a:xfrm>
            </p:grpSpPr>
            <p:sp>
              <p:nvSpPr>
                <p:cNvPr id="69" name="任意多边形: 形状 68">
                  <a:extLst>
                    <a:ext uri="{FF2B5EF4-FFF2-40B4-BE49-F238E27FC236}">
                      <a16:creationId xmlns:a16="http://schemas.microsoft.com/office/drawing/2014/main" id="{1ADAB0AB-5DD4-4E8E-8598-6D28C7DC72D5}"/>
                    </a:ext>
                  </a:extLst>
                </p:cNvPr>
                <p:cNvSpPr/>
                <p:nvPr/>
              </p:nvSpPr>
              <p:spPr bwMode="auto">
                <a:xfrm>
                  <a:off x="0" y="0"/>
                  <a:ext cx="300" cy="450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w 21600"/>
                    <a:gd name="T13" fmla="*/ 0 h 21600"/>
                    <a:gd name="T14" fmla="*/ 0 w 21600"/>
                    <a:gd name="T15" fmla="*/ 0 h 2160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1600" h="21600">
                      <a:moveTo>
                        <a:pt x="10800" y="21600"/>
                      </a:moveTo>
                      <a:lnTo>
                        <a:pt x="1501" y="10863"/>
                      </a:lnTo>
                      <a:cubicBezTo>
                        <a:pt x="566" y="9783"/>
                        <a:pt x="0" y="8538"/>
                        <a:pt x="0" y="7200"/>
                      </a:cubicBezTo>
                      <a:cubicBezTo>
                        <a:pt x="0" y="3223"/>
                        <a:pt x="4836" y="0"/>
                        <a:pt x="10800" y="0"/>
                      </a:cubicBezTo>
                      <a:cubicBezTo>
                        <a:pt x="16765" y="0"/>
                        <a:pt x="21600" y="3223"/>
                        <a:pt x="21600" y="7200"/>
                      </a:cubicBezTo>
                      <a:cubicBezTo>
                        <a:pt x="21600" y="8538"/>
                        <a:pt x="21035" y="9783"/>
                        <a:pt x="20099" y="10863"/>
                      </a:cubicBezTo>
                      <a:lnTo>
                        <a:pt x="10800" y="21600"/>
                      </a:lnTo>
                      <a:close/>
                      <a:moveTo>
                        <a:pt x="10800" y="21600"/>
                      </a:moveTo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xtLst>
                  <a:ext uri="{91240B29-F687-4f45-9708-019B960494DF}">
  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none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sz="1600"/>
                </a:p>
              </p:txBody>
            </p:sp>
            <p:sp>
              <p:nvSpPr>
                <p:cNvPr id="70" name="任意多边形: 形状 69">
                  <a:extLst>
                    <a:ext uri="{FF2B5EF4-FFF2-40B4-BE49-F238E27FC236}">
                      <a16:creationId xmlns:a16="http://schemas.microsoft.com/office/drawing/2014/main" id="{21FA0A15-C111-48CA-91B3-0115010059DE}"/>
                    </a:ext>
                  </a:extLst>
                </p:cNvPr>
                <p:cNvSpPr/>
                <p:nvPr/>
              </p:nvSpPr>
              <p:spPr bwMode="auto">
                <a:xfrm>
                  <a:off x="39" y="39"/>
                  <a:ext cx="213" cy="213"/>
                </a:xfrm>
                <a:custGeom>
                  <a:avLst/>
                  <a:gdLst>
                    <a:gd name="T0" fmla="*/ 0 w 21598"/>
                    <a:gd name="T1" fmla="*/ 0 h 21598"/>
                    <a:gd name="T2" fmla="*/ 0 w 21598"/>
                    <a:gd name="T3" fmla="*/ 0 h 21598"/>
                    <a:gd name="T4" fmla="*/ 0 w 21598"/>
                    <a:gd name="T5" fmla="*/ 0 h 21598"/>
                    <a:gd name="T6" fmla="*/ 0 w 21598"/>
                    <a:gd name="T7" fmla="*/ 0 h 21598"/>
                    <a:gd name="T8" fmla="*/ 0 w 21598"/>
                    <a:gd name="T9" fmla="*/ 0 h 21598"/>
                    <a:gd name="T10" fmla="*/ 0 w 21598"/>
                    <a:gd name="T11" fmla="*/ 0 h 21598"/>
                    <a:gd name="T12" fmla="*/ 0 w 21598"/>
                    <a:gd name="T13" fmla="*/ 0 h 21598"/>
                    <a:gd name="T14" fmla="*/ 0 w 21598"/>
                    <a:gd name="T15" fmla="*/ 0 h 21598"/>
                    <a:gd name="T16" fmla="*/ 0 w 21598"/>
                    <a:gd name="T17" fmla="*/ 0 h 21598"/>
                    <a:gd name="T18" fmla="*/ 0 w 21598"/>
                    <a:gd name="T19" fmla="*/ 0 h 21598"/>
                    <a:gd name="T20" fmla="*/ 0 w 21598"/>
                    <a:gd name="T21" fmla="*/ 0 h 21598"/>
                    <a:gd name="T22" fmla="*/ 0 w 21598"/>
                    <a:gd name="T23" fmla="*/ 0 h 21598"/>
                    <a:gd name="T24" fmla="*/ 0 w 21598"/>
                    <a:gd name="T25" fmla="*/ 0 h 21598"/>
                    <a:gd name="T26" fmla="*/ 0 w 21598"/>
                    <a:gd name="T27" fmla="*/ 0 h 21598"/>
                    <a:gd name="T28" fmla="*/ 0 w 21598"/>
                    <a:gd name="T29" fmla="*/ 0 h 21598"/>
                    <a:gd name="T30" fmla="*/ 0 w 21598"/>
                    <a:gd name="T31" fmla="*/ 0 h 21598"/>
                    <a:gd name="T32" fmla="*/ 0 w 21598"/>
                    <a:gd name="T33" fmla="*/ 0 h 21598"/>
                    <a:gd name="T34" fmla="*/ 0 w 21598"/>
                    <a:gd name="T35" fmla="*/ 0 h 21598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21598" h="21598">
                      <a:moveTo>
                        <a:pt x="21598" y="10799"/>
                      </a:moveTo>
                      <a:cubicBezTo>
                        <a:pt x="21599" y="9385"/>
                        <a:pt x="21318" y="7972"/>
                        <a:pt x="20776" y="6666"/>
                      </a:cubicBezTo>
                      <a:cubicBezTo>
                        <a:pt x="20236" y="5360"/>
                        <a:pt x="19435" y="4162"/>
                        <a:pt x="18435" y="3163"/>
                      </a:cubicBezTo>
                      <a:cubicBezTo>
                        <a:pt x="17436" y="2163"/>
                        <a:pt x="16238" y="1362"/>
                        <a:pt x="14932" y="822"/>
                      </a:cubicBezTo>
                      <a:cubicBezTo>
                        <a:pt x="13626" y="280"/>
                        <a:pt x="12213" y="-1"/>
                        <a:pt x="10799" y="0"/>
                      </a:cubicBezTo>
                      <a:cubicBezTo>
                        <a:pt x="9385" y="-1"/>
                        <a:pt x="7972" y="280"/>
                        <a:pt x="6666" y="822"/>
                      </a:cubicBezTo>
                      <a:cubicBezTo>
                        <a:pt x="5360" y="1362"/>
                        <a:pt x="4162" y="2163"/>
                        <a:pt x="3163" y="3163"/>
                      </a:cubicBezTo>
                      <a:cubicBezTo>
                        <a:pt x="2163" y="4162"/>
                        <a:pt x="1362" y="5360"/>
                        <a:pt x="822" y="6666"/>
                      </a:cubicBezTo>
                      <a:cubicBezTo>
                        <a:pt x="280" y="7972"/>
                        <a:pt x="-1" y="9385"/>
                        <a:pt x="0" y="10799"/>
                      </a:cubicBezTo>
                      <a:cubicBezTo>
                        <a:pt x="-1" y="12213"/>
                        <a:pt x="280" y="13626"/>
                        <a:pt x="822" y="14932"/>
                      </a:cubicBezTo>
                      <a:cubicBezTo>
                        <a:pt x="1362" y="16238"/>
                        <a:pt x="2163" y="17436"/>
                        <a:pt x="3163" y="18435"/>
                      </a:cubicBezTo>
                      <a:cubicBezTo>
                        <a:pt x="4162" y="19435"/>
                        <a:pt x="5360" y="20236"/>
                        <a:pt x="6666" y="20776"/>
                      </a:cubicBezTo>
                      <a:cubicBezTo>
                        <a:pt x="7972" y="21318"/>
                        <a:pt x="9385" y="21599"/>
                        <a:pt x="10799" y="21598"/>
                      </a:cubicBezTo>
                      <a:cubicBezTo>
                        <a:pt x="12213" y="21599"/>
                        <a:pt x="13626" y="21318"/>
                        <a:pt x="14932" y="20776"/>
                      </a:cubicBezTo>
                      <a:cubicBezTo>
                        <a:pt x="16238" y="20236"/>
                        <a:pt x="17436" y="19435"/>
                        <a:pt x="18435" y="18435"/>
                      </a:cubicBezTo>
                      <a:cubicBezTo>
                        <a:pt x="19435" y="17436"/>
                        <a:pt x="20236" y="16238"/>
                        <a:pt x="20776" y="14932"/>
                      </a:cubicBezTo>
                      <a:cubicBezTo>
                        <a:pt x="21318" y="13626"/>
                        <a:pt x="21599" y="12213"/>
                        <a:pt x="21598" y="10799"/>
                      </a:cubicBezTo>
                      <a:close/>
                      <a:moveTo>
                        <a:pt x="21598" y="10799"/>
                      </a:move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none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sz="900" b="1" dirty="0"/>
                    <a:t>96%</a:t>
                  </a:r>
                  <a:endParaRPr sz="900" b="1" dirty="0"/>
                </a:p>
              </p:txBody>
            </p:sp>
          </p:grpSp>
          <p:grpSp>
            <p:nvGrpSpPr>
              <p:cNvPr id="63" name="组合 62">
                <a:extLst>
                  <a:ext uri="{FF2B5EF4-FFF2-40B4-BE49-F238E27FC236}">
                    <a16:creationId xmlns:a16="http://schemas.microsoft.com/office/drawing/2014/main" id="{114C5B69-EFCB-4CC4-AA69-CDF395C911C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9473330" y="2286658"/>
                <a:ext cx="323037" cy="486728"/>
                <a:chOff x="0" y="0"/>
                <a:chExt cx="300" cy="450"/>
              </a:xfrm>
            </p:grpSpPr>
            <p:sp>
              <p:nvSpPr>
                <p:cNvPr id="67" name="任意多边形: 形状 66">
                  <a:extLst>
                    <a:ext uri="{FF2B5EF4-FFF2-40B4-BE49-F238E27FC236}">
                      <a16:creationId xmlns:a16="http://schemas.microsoft.com/office/drawing/2014/main" id="{6B5E3608-7FDB-4B22-8874-84AA0D7AB09E}"/>
                    </a:ext>
                  </a:extLst>
                </p:cNvPr>
                <p:cNvSpPr/>
                <p:nvPr/>
              </p:nvSpPr>
              <p:spPr bwMode="auto">
                <a:xfrm>
                  <a:off x="0" y="0"/>
                  <a:ext cx="300" cy="450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w 21600"/>
                    <a:gd name="T13" fmla="*/ 0 h 21600"/>
                    <a:gd name="T14" fmla="*/ 0 w 21600"/>
                    <a:gd name="T15" fmla="*/ 0 h 2160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1600" h="21600">
                      <a:moveTo>
                        <a:pt x="10800" y="21600"/>
                      </a:moveTo>
                      <a:lnTo>
                        <a:pt x="1501" y="10863"/>
                      </a:lnTo>
                      <a:cubicBezTo>
                        <a:pt x="566" y="9783"/>
                        <a:pt x="0" y="8538"/>
                        <a:pt x="0" y="7200"/>
                      </a:cubicBezTo>
                      <a:cubicBezTo>
                        <a:pt x="0" y="3223"/>
                        <a:pt x="4836" y="0"/>
                        <a:pt x="10800" y="0"/>
                      </a:cubicBezTo>
                      <a:cubicBezTo>
                        <a:pt x="16765" y="0"/>
                        <a:pt x="21600" y="3223"/>
                        <a:pt x="21600" y="7200"/>
                      </a:cubicBezTo>
                      <a:cubicBezTo>
                        <a:pt x="21600" y="8538"/>
                        <a:pt x="21035" y="9783"/>
                        <a:pt x="20099" y="10863"/>
                      </a:cubicBezTo>
                      <a:lnTo>
                        <a:pt x="10800" y="21600"/>
                      </a:lnTo>
                      <a:close/>
                      <a:moveTo>
                        <a:pt x="10800" y="21600"/>
                      </a:moveTo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xtLst>
                  <a:ext uri="{91240B29-F687-4f45-9708-019B960494DF}">
  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none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sz="1600"/>
                </a:p>
              </p:txBody>
            </p:sp>
            <p:sp>
              <p:nvSpPr>
                <p:cNvPr id="68" name="任意多边形: 形状 67">
                  <a:extLst>
                    <a:ext uri="{FF2B5EF4-FFF2-40B4-BE49-F238E27FC236}">
                      <a16:creationId xmlns:a16="http://schemas.microsoft.com/office/drawing/2014/main" id="{B96B6A03-56F8-4992-9F9A-9CDC5CBCEBDC}"/>
                    </a:ext>
                  </a:extLst>
                </p:cNvPr>
                <p:cNvSpPr/>
                <p:nvPr/>
              </p:nvSpPr>
              <p:spPr bwMode="auto">
                <a:xfrm>
                  <a:off x="39" y="39"/>
                  <a:ext cx="213" cy="213"/>
                </a:xfrm>
                <a:custGeom>
                  <a:avLst/>
                  <a:gdLst>
                    <a:gd name="T0" fmla="*/ 0 w 21598"/>
                    <a:gd name="T1" fmla="*/ 0 h 21598"/>
                    <a:gd name="T2" fmla="*/ 0 w 21598"/>
                    <a:gd name="T3" fmla="*/ 0 h 21598"/>
                    <a:gd name="T4" fmla="*/ 0 w 21598"/>
                    <a:gd name="T5" fmla="*/ 0 h 21598"/>
                    <a:gd name="T6" fmla="*/ 0 w 21598"/>
                    <a:gd name="T7" fmla="*/ 0 h 21598"/>
                    <a:gd name="T8" fmla="*/ 0 w 21598"/>
                    <a:gd name="T9" fmla="*/ 0 h 21598"/>
                    <a:gd name="T10" fmla="*/ 0 w 21598"/>
                    <a:gd name="T11" fmla="*/ 0 h 21598"/>
                    <a:gd name="T12" fmla="*/ 0 w 21598"/>
                    <a:gd name="T13" fmla="*/ 0 h 21598"/>
                    <a:gd name="T14" fmla="*/ 0 w 21598"/>
                    <a:gd name="T15" fmla="*/ 0 h 21598"/>
                    <a:gd name="T16" fmla="*/ 0 w 21598"/>
                    <a:gd name="T17" fmla="*/ 0 h 21598"/>
                    <a:gd name="T18" fmla="*/ 0 w 21598"/>
                    <a:gd name="T19" fmla="*/ 0 h 21598"/>
                    <a:gd name="T20" fmla="*/ 0 w 21598"/>
                    <a:gd name="T21" fmla="*/ 0 h 21598"/>
                    <a:gd name="T22" fmla="*/ 0 w 21598"/>
                    <a:gd name="T23" fmla="*/ 0 h 21598"/>
                    <a:gd name="T24" fmla="*/ 0 w 21598"/>
                    <a:gd name="T25" fmla="*/ 0 h 21598"/>
                    <a:gd name="T26" fmla="*/ 0 w 21598"/>
                    <a:gd name="T27" fmla="*/ 0 h 21598"/>
                    <a:gd name="T28" fmla="*/ 0 w 21598"/>
                    <a:gd name="T29" fmla="*/ 0 h 21598"/>
                    <a:gd name="T30" fmla="*/ 0 w 21598"/>
                    <a:gd name="T31" fmla="*/ 0 h 21598"/>
                    <a:gd name="T32" fmla="*/ 0 w 21598"/>
                    <a:gd name="T33" fmla="*/ 0 h 21598"/>
                    <a:gd name="T34" fmla="*/ 0 w 21598"/>
                    <a:gd name="T35" fmla="*/ 0 h 21598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21598" h="21598">
                      <a:moveTo>
                        <a:pt x="21598" y="10799"/>
                      </a:moveTo>
                      <a:cubicBezTo>
                        <a:pt x="21599" y="9385"/>
                        <a:pt x="21318" y="7972"/>
                        <a:pt x="20776" y="6666"/>
                      </a:cubicBezTo>
                      <a:cubicBezTo>
                        <a:pt x="20236" y="5360"/>
                        <a:pt x="19435" y="4162"/>
                        <a:pt x="18435" y="3163"/>
                      </a:cubicBezTo>
                      <a:cubicBezTo>
                        <a:pt x="17436" y="2163"/>
                        <a:pt x="16238" y="1362"/>
                        <a:pt x="14932" y="822"/>
                      </a:cubicBezTo>
                      <a:cubicBezTo>
                        <a:pt x="13626" y="280"/>
                        <a:pt x="12213" y="-1"/>
                        <a:pt x="10799" y="0"/>
                      </a:cubicBezTo>
                      <a:cubicBezTo>
                        <a:pt x="9385" y="-1"/>
                        <a:pt x="7972" y="280"/>
                        <a:pt x="6666" y="822"/>
                      </a:cubicBezTo>
                      <a:cubicBezTo>
                        <a:pt x="5360" y="1362"/>
                        <a:pt x="4162" y="2163"/>
                        <a:pt x="3163" y="3163"/>
                      </a:cubicBezTo>
                      <a:cubicBezTo>
                        <a:pt x="2163" y="4162"/>
                        <a:pt x="1362" y="5360"/>
                        <a:pt x="822" y="6666"/>
                      </a:cubicBezTo>
                      <a:cubicBezTo>
                        <a:pt x="280" y="7972"/>
                        <a:pt x="-1" y="9385"/>
                        <a:pt x="0" y="10799"/>
                      </a:cubicBezTo>
                      <a:cubicBezTo>
                        <a:pt x="-1" y="12213"/>
                        <a:pt x="280" y="13626"/>
                        <a:pt x="822" y="14932"/>
                      </a:cubicBezTo>
                      <a:cubicBezTo>
                        <a:pt x="1362" y="16238"/>
                        <a:pt x="2163" y="17436"/>
                        <a:pt x="3163" y="18435"/>
                      </a:cubicBezTo>
                      <a:cubicBezTo>
                        <a:pt x="4162" y="19435"/>
                        <a:pt x="5360" y="20236"/>
                        <a:pt x="6666" y="20776"/>
                      </a:cubicBezTo>
                      <a:cubicBezTo>
                        <a:pt x="7972" y="21318"/>
                        <a:pt x="9385" y="21599"/>
                        <a:pt x="10799" y="21598"/>
                      </a:cubicBezTo>
                      <a:cubicBezTo>
                        <a:pt x="12213" y="21599"/>
                        <a:pt x="13626" y="21318"/>
                        <a:pt x="14932" y="20776"/>
                      </a:cubicBezTo>
                      <a:cubicBezTo>
                        <a:pt x="16238" y="20236"/>
                        <a:pt x="17436" y="19435"/>
                        <a:pt x="18435" y="18435"/>
                      </a:cubicBezTo>
                      <a:cubicBezTo>
                        <a:pt x="19435" y="17436"/>
                        <a:pt x="20236" y="16238"/>
                        <a:pt x="20776" y="14932"/>
                      </a:cubicBezTo>
                      <a:cubicBezTo>
                        <a:pt x="21318" y="13626"/>
                        <a:pt x="21599" y="12213"/>
                        <a:pt x="21598" y="10799"/>
                      </a:cubicBezTo>
                      <a:close/>
                      <a:moveTo>
                        <a:pt x="21598" y="10799"/>
                      </a:move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none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sz="900" b="1" dirty="0"/>
                    <a:t>81%</a:t>
                  </a:r>
                  <a:endParaRPr sz="900" b="1" dirty="0"/>
                </a:p>
              </p:txBody>
            </p:sp>
          </p:grpSp>
          <p:grpSp>
            <p:nvGrpSpPr>
              <p:cNvPr id="64" name="组合 63">
                <a:extLst>
                  <a:ext uri="{FF2B5EF4-FFF2-40B4-BE49-F238E27FC236}">
                    <a16:creationId xmlns:a16="http://schemas.microsoft.com/office/drawing/2014/main" id="{D2989027-2384-44D2-B370-370F4E5C5CD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0298951" y="2960113"/>
                <a:ext cx="323037" cy="486727"/>
                <a:chOff x="0" y="0"/>
                <a:chExt cx="300" cy="450"/>
              </a:xfrm>
            </p:grpSpPr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14D0626A-7B34-4139-99EF-4C52FA2C30D2}"/>
                    </a:ext>
                  </a:extLst>
                </p:cNvPr>
                <p:cNvSpPr/>
                <p:nvPr/>
              </p:nvSpPr>
              <p:spPr bwMode="auto">
                <a:xfrm>
                  <a:off x="0" y="0"/>
                  <a:ext cx="300" cy="450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w 21600"/>
                    <a:gd name="T9" fmla="*/ 0 h 21600"/>
                    <a:gd name="T10" fmla="*/ 0 w 21600"/>
                    <a:gd name="T11" fmla="*/ 0 h 21600"/>
                    <a:gd name="T12" fmla="*/ 0 w 21600"/>
                    <a:gd name="T13" fmla="*/ 0 h 21600"/>
                    <a:gd name="T14" fmla="*/ 0 w 21600"/>
                    <a:gd name="T15" fmla="*/ 0 h 2160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1600" h="21600">
                      <a:moveTo>
                        <a:pt x="10800" y="21600"/>
                      </a:moveTo>
                      <a:lnTo>
                        <a:pt x="1501" y="10863"/>
                      </a:lnTo>
                      <a:cubicBezTo>
                        <a:pt x="566" y="9783"/>
                        <a:pt x="0" y="8538"/>
                        <a:pt x="0" y="7200"/>
                      </a:cubicBezTo>
                      <a:cubicBezTo>
                        <a:pt x="0" y="3223"/>
                        <a:pt x="4836" y="0"/>
                        <a:pt x="10800" y="0"/>
                      </a:cubicBezTo>
                      <a:cubicBezTo>
                        <a:pt x="16765" y="0"/>
                        <a:pt x="21600" y="3223"/>
                        <a:pt x="21600" y="7200"/>
                      </a:cubicBezTo>
                      <a:cubicBezTo>
                        <a:pt x="21600" y="8538"/>
                        <a:pt x="21035" y="9783"/>
                        <a:pt x="20099" y="10863"/>
                      </a:cubicBezTo>
                      <a:lnTo>
                        <a:pt x="10800" y="21600"/>
                      </a:lnTo>
                      <a:close/>
                      <a:moveTo>
                        <a:pt x="10800" y="21600"/>
                      </a:moveTo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  <a:extLst>
                  <a:ext uri="{91240B29-F687-4f45-9708-019B960494DF}">
  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sz="1600"/>
                </a:p>
              </p:txBody>
            </p:sp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7CD069A0-1FE1-4372-8130-5A4C567D9282}"/>
                    </a:ext>
                  </a:extLst>
                </p:cNvPr>
                <p:cNvSpPr/>
                <p:nvPr/>
              </p:nvSpPr>
              <p:spPr bwMode="auto">
                <a:xfrm>
                  <a:off x="39" y="39"/>
                  <a:ext cx="213" cy="213"/>
                </a:xfrm>
                <a:custGeom>
                  <a:avLst/>
                  <a:gdLst>
                    <a:gd name="T0" fmla="*/ 0 w 21598"/>
                    <a:gd name="T1" fmla="*/ 0 h 21598"/>
                    <a:gd name="T2" fmla="*/ 0 w 21598"/>
                    <a:gd name="T3" fmla="*/ 0 h 21598"/>
                    <a:gd name="T4" fmla="*/ 0 w 21598"/>
                    <a:gd name="T5" fmla="*/ 0 h 21598"/>
                    <a:gd name="T6" fmla="*/ 0 w 21598"/>
                    <a:gd name="T7" fmla="*/ 0 h 21598"/>
                    <a:gd name="T8" fmla="*/ 0 w 21598"/>
                    <a:gd name="T9" fmla="*/ 0 h 21598"/>
                    <a:gd name="T10" fmla="*/ 0 w 21598"/>
                    <a:gd name="T11" fmla="*/ 0 h 21598"/>
                    <a:gd name="T12" fmla="*/ 0 w 21598"/>
                    <a:gd name="T13" fmla="*/ 0 h 21598"/>
                    <a:gd name="T14" fmla="*/ 0 w 21598"/>
                    <a:gd name="T15" fmla="*/ 0 h 21598"/>
                    <a:gd name="T16" fmla="*/ 0 w 21598"/>
                    <a:gd name="T17" fmla="*/ 0 h 21598"/>
                    <a:gd name="T18" fmla="*/ 0 w 21598"/>
                    <a:gd name="T19" fmla="*/ 0 h 21598"/>
                    <a:gd name="T20" fmla="*/ 0 w 21598"/>
                    <a:gd name="T21" fmla="*/ 0 h 21598"/>
                    <a:gd name="T22" fmla="*/ 0 w 21598"/>
                    <a:gd name="T23" fmla="*/ 0 h 21598"/>
                    <a:gd name="T24" fmla="*/ 0 w 21598"/>
                    <a:gd name="T25" fmla="*/ 0 h 21598"/>
                    <a:gd name="T26" fmla="*/ 0 w 21598"/>
                    <a:gd name="T27" fmla="*/ 0 h 21598"/>
                    <a:gd name="T28" fmla="*/ 0 w 21598"/>
                    <a:gd name="T29" fmla="*/ 0 h 21598"/>
                    <a:gd name="T30" fmla="*/ 0 w 21598"/>
                    <a:gd name="T31" fmla="*/ 0 h 21598"/>
                    <a:gd name="T32" fmla="*/ 0 w 21598"/>
                    <a:gd name="T33" fmla="*/ 0 h 21598"/>
                    <a:gd name="T34" fmla="*/ 0 w 21598"/>
                    <a:gd name="T35" fmla="*/ 0 h 21598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21598" h="21598">
                      <a:moveTo>
                        <a:pt x="21598" y="10799"/>
                      </a:moveTo>
                      <a:cubicBezTo>
                        <a:pt x="21599" y="9385"/>
                        <a:pt x="21318" y="7972"/>
                        <a:pt x="20776" y="6666"/>
                      </a:cubicBezTo>
                      <a:cubicBezTo>
                        <a:pt x="20236" y="5360"/>
                        <a:pt x="19435" y="4162"/>
                        <a:pt x="18435" y="3163"/>
                      </a:cubicBezTo>
                      <a:cubicBezTo>
                        <a:pt x="17436" y="2163"/>
                        <a:pt x="16238" y="1362"/>
                        <a:pt x="14932" y="822"/>
                      </a:cubicBezTo>
                      <a:cubicBezTo>
                        <a:pt x="13626" y="280"/>
                        <a:pt x="12213" y="-1"/>
                        <a:pt x="10799" y="0"/>
                      </a:cubicBezTo>
                      <a:cubicBezTo>
                        <a:pt x="9385" y="-1"/>
                        <a:pt x="7972" y="280"/>
                        <a:pt x="6666" y="822"/>
                      </a:cubicBezTo>
                      <a:cubicBezTo>
                        <a:pt x="5360" y="1362"/>
                        <a:pt x="4162" y="2163"/>
                        <a:pt x="3163" y="3163"/>
                      </a:cubicBezTo>
                      <a:cubicBezTo>
                        <a:pt x="2163" y="4162"/>
                        <a:pt x="1362" y="5360"/>
                        <a:pt x="822" y="6666"/>
                      </a:cubicBezTo>
                      <a:cubicBezTo>
                        <a:pt x="280" y="7972"/>
                        <a:pt x="-1" y="9385"/>
                        <a:pt x="0" y="10799"/>
                      </a:cubicBezTo>
                      <a:cubicBezTo>
                        <a:pt x="-1" y="12213"/>
                        <a:pt x="280" y="13626"/>
                        <a:pt x="822" y="14932"/>
                      </a:cubicBezTo>
                      <a:cubicBezTo>
                        <a:pt x="1362" y="16238"/>
                        <a:pt x="2163" y="17436"/>
                        <a:pt x="3163" y="18435"/>
                      </a:cubicBezTo>
                      <a:cubicBezTo>
                        <a:pt x="4162" y="19435"/>
                        <a:pt x="5360" y="20236"/>
                        <a:pt x="6666" y="20776"/>
                      </a:cubicBezTo>
                      <a:cubicBezTo>
                        <a:pt x="7972" y="21318"/>
                        <a:pt x="9385" y="21599"/>
                        <a:pt x="10799" y="21598"/>
                      </a:cubicBezTo>
                      <a:cubicBezTo>
                        <a:pt x="12213" y="21599"/>
                        <a:pt x="13626" y="21318"/>
                        <a:pt x="14932" y="20776"/>
                      </a:cubicBezTo>
                      <a:cubicBezTo>
                        <a:pt x="16238" y="20236"/>
                        <a:pt x="17436" y="19435"/>
                        <a:pt x="18435" y="18435"/>
                      </a:cubicBezTo>
                      <a:cubicBezTo>
                        <a:pt x="19435" y="17436"/>
                        <a:pt x="20236" y="16238"/>
                        <a:pt x="20776" y="14932"/>
                      </a:cubicBezTo>
                      <a:cubicBezTo>
                        <a:pt x="21318" y="13626"/>
                        <a:pt x="21599" y="12213"/>
                        <a:pt x="21598" y="10799"/>
                      </a:cubicBezTo>
                      <a:close/>
                      <a:moveTo>
                        <a:pt x="21598" y="10799"/>
                      </a:move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p14="http://schemas.microsoft.com/office/powerpoint/2010/main" xmlns:a14="http://schemas.microsoft.com/office/drawing/2010/main" xmlns:a16="http://schemas.microsoft.com/office/drawing/2014/main" xmlns:lc="http://schemas.openxmlformats.org/drawingml/2006/lockedCanvas" xmlns="" w="25400" cap="flat">
                      <a:solidFill>
                        <a:schemeClr val="tx1"/>
                      </a:solidFill>
                      <a:miter lim="800000"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wrap="none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altLang="zh-CN" sz="900" b="1" dirty="0"/>
                    <a:t>46%</a:t>
                  </a:r>
                  <a:endParaRPr sz="900" b="1" dirty="0"/>
                </a:p>
              </p:txBody>
            </p:sp>
          </p:grp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65F56695-8726-4EBE-8BF5-C1F93C623E18}"/>
                </a:ext>
              </a:extLst>
            </p:cNvPr>
            <p:cNvGrpSpPr/>
            <p:nvPr/>
          </p:nvGrpSpPr>
          <p:grpSpPr>
            <a:xfrm>
              <a:off x="687279" y="1537264"/>
              <a:ext cx="3963496" cy="1598504"/>
              <a:chOff x="687278" y="2398652"/>
              <a:chExt cx="3524773" cy="1598504"/>
            </a:xfrm>
          </p:grpSpPr>
          <p:sp>
            <p:nvSpPr>
              <p:cNvPr id="51" name="矩形 50">
                <a:extLst>
                  <a:ext uri="{FF2B5EF4-FFF2-40B4-BE49-F238E27FC236}">
                    <a16:creationId xmlns:a16="http://schemas.microsoft.com/office/drawing/2014/main" id="{8A57F257-8DD4-41A2-86D6-70148907E59A}"/>
                  </a:ext>
                </a:extLst>
              </p:cNvPr>
              <p:cNvSpPr/>
              <p:nvPr/>
            </p:nvSpPr>
            <p:spPr>
              <a:xfrm>
                <a:off x="687278" y="2840457"/>
                <a:ext cx="3524773" cy="11566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000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Unified fonts make reading more fluent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Adjust the spacing to adapt to Chinese typesetting, use the reference line in PPT.</a:t>
                </a:r>
              </a:p>
            </p:txBody>
          </p:sp>
          <p:sp>
            <p:nvSpPr>
              <p:cNvPr id="52" name="文本框 51">
                <a:extLst>
                  <a:ext uri="{FF2B5EF4-FFF2-40B4-BE49-F238E27FC236}">
                    <a16:creationId xmlns:a16="http://schemas.microsoft.com/office/drawing/2014/main" id="{B6E31E02-6ADF-4D9A-9B5C-68AE0DE53E4C}"/>
                  </a:ext>
                </a:extLst>
              </p:cNvPr>
              <p:cNvSpPr txBox="1"/>
              <p:nvPr/>
            </p:nvSpPr>
            <p:spPr bwMode="auto">
              <a:xfrm>
                <a:off x="687278" y="2398652"/>
                <a:ext cx="3524773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2000" b="1" dirty="0"/>
                  <a:t>Text here</a:t>
                </a:r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42547200-D54F-4BF2-921A-89403A8B540C}"/>
                </a:ext>
              </a:extLst>
            </p:cNvPr>
            <p:cNvGrpSpPr/>
            <p:nvPr/>
          </p:nvGrpSpPr>
          <p:grpSpPr>
            <a:xfrm>
              <a:off x="686345" y="4190166"/>
              <a:ext cx="1580392" cy="1907785"/>
              <a:chOff x="686345" y="4190166"/>
              <a:chExt cx="1580392" cy="1907785"/>
            </a:xfrm>
          </p:grpSpPr>
          <p:grpSp>
            <p:nvGrpSpPr>
              <p:cNvPr id="45" name="组合 44">
                <a:extLst>
                  <a:ext uri="{FF2B5EF4-FFF2-40B4-BE49-F238E27FC236}">
                    <a16:creationId xmlns:a16="http://schemas.microsoft.com/office/drawing/2014/main" id="{14E6A3A7-0217-4514-AA23-3BF5A4C5A1C3}"/>
                  </a:ext>
                </a:extLst>
              </p:cNvPr>
              <p:cNvGrpSpPr/>
              <p:nvPr/>
            </p:nvGrpSpPr>
            <p:grpSpPr>
              <a:xfrm>
                <a:off x="1134723" y="4190166"/>
                <a:ext cx="691418" cy="692506"/>
                <a:chOff x="1305039" y="3884262"/>
                <a:chExt cx="899312" cy="900726"/>
              </a:xfrm>
            </p:grpSpPr>
            <p:sp>
              <p:nvSpPr>
                <p:cNvPr id="49" name="椭圆 48">
                  <a:extLst>
                    <a:ext uri="{FF2B5EF4-FFF2-40B4-BE49-F238E27FC236}">
                      <a16:creationId xmlns:a16="http://schemas.microsoft.com/office/drawing/2014/main" id="{9968ED00-1448-45B2-9BF9-58F146D3B1E3}"/>
                    </a:ext>
                  </a:extLst>
                </p:cNvPr>
                <p:cNvSpPr/>
                <p:nvPr/>
              </p:nvSpPr>
              <p:spPr bwMode="auto">
                <a:xfrm>
                  <a:off x="1305039" y="3884262"/>
                  <a:ext cx="899312" cy="900726"/>
                </a:xfrm>
                <a:prstGeom prst="ellipse">
                  <a:avLst/>
                </a:prstGeom>
                <a:solidFill>
                  <a:schemeClr val="bg1"/>
                </a:solidFill>
                <a:ln w="57150">
                  <a:solidFill>
                    <a:schemeClr val="tx2">
                      <a:lumMod val="20000"/>
                      <a:lumOff val="80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id-ID"/>
                </a:p>
              </p:txBody>
            </p:sp>
            <p:sp>
              <p:nvSpPr>
                <p:cNvPr id="50" name="任意多边形: 形状 49">
                  <a:extLst>
                    <a:ext uri="{FF2B5EF4-FFF2-40B4-BE49-F238E27FC236}">
                      <a16:creationId xmlns:a16="http://schemas.microsoft.com/office/drawing/2014/main" id="{89D25FEE-394A-4FC3-8340-D2366F8D8C86}"/>
                    </a:ext>
                  </a:extLst>
                </p:cNvPr>
                <p:cNvSpPr/>
                <p:nvPr/>
              </p:nvSpPr>
              <p:spPr>
                <a:xfrm>
                  <a:off x="1573594" y="4148796"/>
                  <a:ext cx="362202" cy="371658"/>
                </a:xfrm>
                <a:custGeom>
                  <a:avLst/>
                  <a:gdLst>
                    <a:gd name="T0" fmla="*/ 4313 w 5734"/>
                    <a:gd name="T1" fmla="*/ 3918 h 5892"/>
                    <a:gd name="T2" fmla="*/ 5734 w 5734"/>
                    <a:gd name="T3" fmla="*/ 2497 h 5892"/>
                    <a:gd name="T4" fmla="*/ 4313 w 5734"/>
                    <a:gd name="T5" fmla="*/ 1076 h 5892"/>
                    <a:gd name="T6" fmla="*/ 4149 w 5734"/>
                    <a:gd name="T7" fmla="*/ 1085 h 5892"/>
                    <a:gd name="T8" fmla="*/ 3733 w 5734"/>
                    <a:gd name="T9" fmla="*/ 378 h 5892"/>
                    <a:gd name="T10" fmla="*/ 2768 w 5734"/>
                    <a:gd name="T11" fmla="*/ 0 h 5892"/>
                    <a:gd name="T12" fmla="*/ 1389 w 5734"/>
                    <a:gd name="T13" fmla="*/ 1076 h 5892"/>
                    <a:gd name="T14" fmla="*/ 0 w 5734"/>
                    <a:gd name="T15" fmla="*/ 2497 h 5892"/>
                    <a:gd name="T16" fmla="*/ 1421 w 5734"/>
                    <a:gd name="T17" fmla="*/ 3918 h 5892"/>
                    <a:gd name="T18" fmla="*/ 2140 w 5734"/>
                    <a:gd name="T19" fmla="*/ 3918 h 5892"/>
                    <a:gd name="T20" fmla="*/ 2140 w 5734"/>
                    <a:gd name="T21" fmla="*/ 4472 h 5892"/>
                    <a:gd name="T22" fmla="*/ 1315 w 5734"/>
                    <a:gd name="T23" fmla="*/ 4472 h 5892"/>
                    <a:gd name="T24" fmla="*/ 954 w 5734"/>
                    <a:gd name="T25" fmla="*/ 4259 h 5892"/>
                    <a:gd name="T26" fmla="*/ 540 w 5734"/>
                    <a:gd name="T27" fmla="*/ 4672 h 5892"/>
                    <a:gd name="T28" fmla="*/ 954 w 5734"/>
                    <a:gd name="T29" fmla="*/ 5086 h 5892"/>
                    <a:gd name="T30" fmla="*/ 1315 w 5734"/>
                    <a:gd name="T31" fmla="*/ 4872 h 5892"/>
                    <a:gd name="T32" fmla="*/ 2340 w 5734"/>
                    <a:gd name="T33" fmla="*/ 4872 h 5892"/>
                    <a:gd name="T34" fmla="*/ 2540 w 5734"/>
                    <a:gd name="T35" fmla="*/ 4672 h 5892"/>
                    <a:gd name="T36" fmla="*/ 2540 w 5734"/>
                    <a:gd name="T37" fmla="*/ 3918 h 5892"/>
                    <a:gd name="T38" fmla="*/ 2667 w 5734"/>
                    <a:gd name="T39" fmla="*/ 3918 h 5892"/>
                    <a:gd name="T40" fmla="*/ 2667 w 5734"/>
                    <a:gd name="T41" fmla="*/ 5117 h 5892"/>
                    <a:gd name="T42" fmla="*/ 2454 w 5734"/>
                    <a:gd name="T43" fmla="*/ 5479 h 5892"/>
                    <a:gd name="T44" fmla="*/ 2867 w 5734"/>
                    <a:gd name="T45" fmla="*/ 5892 h 5892"/>
                    <a:gd name="T46" fmla="*/ 3280 w 5734"/>
                    <a:gd name="T47" fmla="*/ 5479 h 5892"/>
                    <a:gd name="T48" fmla="*/ 3067 w 5734"/>
                    <a:gd name="T49" fmla="*/ 5117 h 5892"/>
                    <a:gd name="T50" fmla="*/ 3067 w 5734"/>
                    <a:gd name="T51" fmla="*/ 3918 h 5892"/>
                    <a:gd name="T52" fmla="*/ 3194 w 5734"/>
                    <a:gd name="T53" fmla="*/ 3918 h 5892"/>
                    <a:gd name="T54" fmla="*/ 3194 w 5734"/>
                    <a:gd name="T55" fmla="*/ 4691 h 5892"/>
                    <a:gd name="T56" fmla="*/ 3394 w 5734"/>
                    <a:gd name="T57" fmla="*/ 4891 h 5892"/>
                    <a:gd name="T58" fmla="*/ 4430 w 5734"/>
                    <a:gd name="T59" fmla="*/ 4891 h 5892"/>
                    <a:gd name="T60" fmla="*/ 4780 w 5734"/>
                    <a:gd name="T61" fmla="*/ 5085 h 5892"/>
                    <a:gd name="T62" fmla="*/ 5194 w 5734"/>
                    <a:gd name="T63" fmla="*/ 4672 h 5892"/>
                    <a:gd name="T64" fmla="*/ 4780 w 5734"/>
                    <a:gd name="T65" fmla="*/ 4259 h 5892"/>
                    <a:gd name="T66" fmla="*/ 4409 w 5734"/>
                    <a:gd name="T67" fmla="*/ 4491 h 5892"/>
                    <a:gd name="T68" fmla="*/ 3594 w 5734"/>
                    <a:gd name="T69" fmla="*/ 4491 h 5892"/>
                    <a:gd name="T70" fmla="*/ 3594 w 5734"/>
                    <a:gd name="T71" fmla="*/ 3918 h 5892"/>
                    <a:gd name="T72" fmla="*/ 4313 w 5734"/>
                    <a:gd name="T73" fmla="*/ 3918 h 58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734" h="5892">
                      <a:moveTo>
                        <a:pt x="4313" y="3918"/>
                      </a:moveTo>
                      <a:cubicBezTo>
                        <a:pt x="5096" y="3918"/>
                        <a:pt x="5734" y="3280"/>
                        <a:pt x="5734" y="2497"/>
                      </a:cubicBezTo>
                      <a:cubicBezTo>
                        <a:pt x="5734" y="1713"/>
                        <a:pt x="5096" y="1076"/>
                        <a:pt x="4313" y="1076"/>
                      </a:cubicBezTo>
                      <a:cubicBezTo>
                        <a:pt x="4258" y="1076"/>
                        <a:pt x="4203" y="1079"/>
                        <a:pt x="4149" y="1085"/>
                      </a:cubicBezTo>
                      <a:cubicBezTo>
                        <a:pt x="4084" y="816"/>
                        <a:pt x="3940" y="570"/>
                        <a:pt x="3733" y="378"/>
                      </a:cubicBezTo>
                      <a:cubicBezTo>
                        <a:pt x="3470" y="134"/>
                        <a:pt x="3127" y="0"/>
                        <a:pt x="2768" y="0"/>
                      </a:cubicBezTo>
                      <a:cubicBezTo>
                        <a:pt x="2107" y="0"/>
                        <a:pt x="1544" y="451"/>
                        <a:pt x="1389" y="1076"/>
                      </a:cubicBezTo>
                      <a:cubicBezTo>
                        <a:pt x="620" y="1093"/>
                        <a:pt x="0" y="1724"/>
                        <a:pt x="0" y="2497"/>
                      </a:cubicBezTo>
                      <a:cubicBezTo>
                        <a:pt x="0" y="3281"/>
                        <a:pt x="638" y="3918"/>
                        <a:pt x="1421" y="3918"/>
                      </a:cubicBezTo>
                      <a:lnTo>
                        <a:pt x="2140" y="3918"/>
                      </a:lnTo>
                      <a:lnTo>
                        <a:pt x="2140" y="4472"/>
                      </a:lnTo>
                      <a:lnTo>
                        <a:pt x="1315" y="4472"/>
                      </a:lnTo>
                      <a:cubicBezTo>
                        <a:pt x="1245" y="4345"/>
                        <a:pt x="1109" y="4259"/>
                        <a:pt x="954" y="4259"/>
                      </a:cubicBezTo>
                      <a:cubicBezTo>
                        <a:pt x="726" y="4259"/>
                        <a:pt x="540" y="4444"/>
                        <a:pt x="540" y="4672"/>
                      </a:cubicBezTo>
                      <a:cubicBezTo>
                        <a:pt x="540" y="4900"/>
                        <a:pt x="726" y="5086"/>
                        <a:pt x="954" y="5086"/>
                      </a:cubicBezTo>
                      <a:cubicBezTo>
                        <a:pt x="1109" y="5086"/>
                        <a:pt x="1245" y="4999"/>
                        <a:pt x="1315" y="4872"/>
                      </a:cubicBezTo>
                      <a:lnTo>
                        <a:pt x="2340" y="4872"/>
                      </a:lnTo>
                      <a:cubicBezTo>
                        <a:pt x="2451" y="4872"/>
                        <a:pt x="2540" y="4783"/>
                        <a:pt x="2540" y="4672"/>
                      </a:cubicBezTo>
                      <a:lnTo>
                        <a:pt x="2540" y="3918"/>
                      </a:lnTo>
                      <a:lnTo>
                        <a:pt x="2667" y="3918"/>
                      </a:lnTo>
                      <a:lnTo>
                        <a:pt x="2667" y="5117"/>
                      </a:lnTo>
                      <a:cubicBezTo>
                        <a:pt x="2540" y="5188"/>
                        <a:pt x="2454" y="5323"/>
                        <a:pt x="2454" y="5479"/>
                      </a:cubicBezTo>
                      <a:cubicBezTo>
                        <a:pt x="2454" y="5707"/>
                        <a:pt x="2639" y="5892"/>
                        <a:pt x="2867" y="5892"/>
                      </a:cubicBezTo>
                      <a:cubicBezTo>
                        <a:pt x="3095" y="5892"/>
                        <a:pt x="3280" y="5707"/>
                        <a:pt x="3280" y="5479"/>
                      </a:cubicBezTo>
                      <a:cubicBezTo>
                        <a:pt x="3280" y="5323"/>
                        <a:pt x="3194" y="5188"/>
                        <a:pt x="3067" y="5117"/>
                      </a:cubicBezTo>
                      <a:lnTo>
                        <a:pt x="3067" y="3918"/>
                      </a:lnTo>
                      <a:lnTo>
                        <a:pt x="3194" y="3918"/>
                      </a:lnTo>
                      <a:lnTo>
                        <a:pt x="3194" y="4691"/>
                      </a:lnTo>
                      <a:cubicBezTo>
                        <a:pt x="3194" y="4802"/>
                        <a:pt x="3283" y="4891"/>
                        <a:pt x="3394" y="4891"/>
                      </a:cubicBezTo>
                      <a:lnTo>
                        <a:pt x="4430" y="4891"/>
                      </a:lnTo>
                      <a:cubicBezTo>
                        <a:pt x="4503" y="5008"/>
                        <a:pt x="4633" y="5085"/>
                        <a:pt x="4780" y="5085"/>
                      </a:cubicBezTo>
                      <a:cubicBezTo>
                        <a:pt x="5008" y="5085"/>
                        <a:pt x="5194" y="4900"/>
                        <a:pt x="5194" y="4672"/>
                      </a:cubicBezTo>
                      <a:cubicBezTo>
                        <a:pt x="5194" y="4444"/>
                        <a:pt x="5008" y="4259"/>
                        <a:pt x="4780" y="4259"/>
                      </a:cubicBezTo>
                      <a:cubicBezTo>
                        <a:pt x="4617" y="4259"/>
                        <a:pt x="4476" y="4354"/>
                        <a:pt x="4409" y="4491"/>
                      </a:cubicBezTo>
                      <a:lnTo>
                        <a:pt x="3594" y="4491"/>
                      </a:lnTo>
                      <a:lnTo>
                        <a:pt x="3594" y="3918"/>
                      </a:lnTo>
                      <a:lnTo>
                        <a:pt x="4313" y="3918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2700">
                  <a:miter lim="400000"/>
                </a:ln>
              </p:spPr>
              <p:txBody>
                <a:bodyPr lIns="19045" tIns="19045" rIns="19045" bIns="19045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228532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 sz="3000" cap="none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</a:defRPr>
                  </a:pPr>
                  <a:endParaRPr sz="15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endParaRPr>
                </a:p>
              </p:txBody>
            </p:sp>
          </p:grpSp>
          <p:grpSp>
            <p:nvGrpSpPr>
              <p:cNvPr id="46" name="组合 45">
                <a:extLst>
                  <a:ext uri="{FF2B5EF4-FFF2-40B4-BE49-F238E27FC236}">
                    <a16:creationId xmlns:a16="http://schemas.microsoft.com/office/drawing/2014/main" id="{837090D8-028C-49FE-A09C-1F956FDF4CB7}"/>
                  </a:ext>
                </a:extLst>
              </p:cNvPr>
              <p:cNvGrpSpPr/>
              <p:nvPr/>
            </p:nvGrpSpPr>
            <p:grpSpPr>
              <a:xfrm>
                <a:off x="686345" y="4959840"/>
                <a:ext cx="1580392" cy="1138111"/>
                <a:chOff x="735360" y="4366332"/>
                <a:chExt cx="2030888" cy="1138111"/>
              </a:xfrm>
            </p:grpSpPr>
            <p:sp>
              <p:nvSpPr>
                <p:cNvPr id="47" name="文本框 46">
                  <a:extLst>
                    <a:ext uri="{FF2B5EF4-FFF2-40B4-BE49-F238E27FC236}">
                      <a16:creationId xmlns:a16="http://schemas.microsoft.com/office/drawing/2014/main" id="{E00AE4F9-E953-4A3B-B6B6-53F79693893D}"/>
                    </a:ext>
                  </a:extLst>
                </p:cNvPr>
                <p:cNvSpPr txBox="1"/>
                <p:nvPr/>
              </p:nvSpPr>
              <p:spPr bwMode="auto">
                <a:xfrm>
                  <a:off x="735360" y="4366332"/>
                  <a:ext cx="2030888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 algn="ctr"/>
                  <a:r>
                    <a:rPr lang="en-US" altLang="zh-CN" b="1" dirty="0"/>
                    <a:t>…</a:t>
                  </a:r>
                  <a:r>
                    <a:rPr lang="zh-CN" altLang="en-US" b="1" dirty="0"/>
                    <a:t>计划</a:t>
                  </a:r>
                </a:p>
              </p:txBody>
            </p:sp>
            <p:sp>
              <p:nvSpPr>
                <p:cNvPr id="48" name="文本框 47">
                  <a:extLst>
                    <a:ext uri="{FF2B5EF4-FFF2-40B4-BE49-F238E27FC236}">
                      <a16:creationId xmlns:a16="http://schemas.microsoft.com/office/drawing/2014/main" id="{BF1143BF-7504-41AD-809E-5ECDF71CE1CA}"/>
                    </a:ext>
                  </a:extLst>
                </p:cNvPr>
                <p:cNvSpPr txBox="1"/>
                <p:nvPr/>
              </p:nvSpPr>
              <p:spPr>
                <a:xfrm>
                  <a:off x="735360" y="4808137"/>
                  <a:ext cx="2030888" cy="696306"/>
                </a:xfrm>
                <a:prstGeom prst="rect">
                  <a:avLst/>
                </a:prstGeom>
              </p:spPr>
              <p:txBody>
                <a:bodyPr wrap="square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lnSpc>
                      <a:spcPct val="150000"/>
                    </a:lnSpc>
                    <a:spcBef>
                      <a:spcPct val="0"/>
                    </a:spcBef>
                    <a:buNone/>
                  </a:pPr>
                  <a:r>
                    <a:rPr lang="en-US" altLang="zh-CN" sz="1100" dirty="0"/>
                    <a:t>Supporting text here. </a:t>
                  </a:r>
                </a:p>
                <a:p>
                  <a:pPr marL="0" indent="0" algn="ctr">
                    <a:lnSpc>
                      <a:spcPct val="150000"/>
                    </a:lnSpc>
                    <a:spcBef>
                      <a:spcPct val="0"/>
                    </a:spcBef>
                    <a:buNone/>
                  </a:pPr>
                  <a:r>
                    <a:rPr lang="en-US" altLang="zh-CN" sz="1100" dirty="0"/>
                    <a:t>……</a:t>
                  </a:r>
                  <a:endParaRPr lang="zh-CN" altLang="en-US" sz="1100" dirty="0"/>
                </a:p>
              </p:txBody>
            </p:sp>
          </p:grp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60FB1DFC-C128-4168-A512-D77EDBB3D954}"/>
                </a:ext>
              </a:extLst>
            </p:cNvPr>
            <p:cNvGrpSpPr/>
            <p:nvPr/>
          </p:nvGrpSpPr>
          <p:grpSpPr>
            <a:xfrm>
              <a:off x="2538865" y="4190166"/>
              <a:ext cx="1580392" cy="1907785"/>
              <a:chOff x="686345" y="4190166"/>
              <a:chExt cx="1580392" cy="1907785"/>
            </a:xfrm>
          </p:grpSpPr>
          <p:grpSp>
            <p:nvGrpSpPr>
              <p:cNvPr id="39" name="组合 38">
                <a:extLst>
                  <a:ext uri="{FF2B5EF4-FFF2-40B4-BE49-F238E27FC236}">
                    <a16:creationId xmlns:a16="http://schemas.microsoft.com/office/drawing/2014/main" id="{01033C20-5BA4-4833-AB39-B969DAF81B21}"/>
                  </a:ext>
                </a:extLst>
              </p:cNvPr>
              <p:cNvGrpSpPr/>
              <p:nvPr/>
            </p:nvGrpSpPr>
            <p:grpSpPr>
              <a:xfrm>
                <a:off x="1134723" y="4190166"/>
                <a:ext cx="691418" cy="692506"/>
                <a:chOff x="1305039" y="3884262"/>
                <a:chExt cx="899312" cy="900726"/>
              </a:xfrm>
            </p:grpSpPr>
            <p:sp>
              <p:nvSpPr>
                <p:cNvPr id="43" name="椭圆 42">
                  <a:extLst>
                    <a:ext uri="{FF2B5EF4-FFF2-40B4-BE49-F238E27FC236}">
                      <a16:creationId xmlns:a16="http://schemas.microsoft.com/office/drawing/2014/main" id="{D8680943-4ED6-4B96-8846-B1B13ADA43F1}"/>
                    </a:ext>
                  </a:extLst>
                </p:cNvPr>
                <p:cNvSpPr/>
                <p:nvPr/>
              </p:nvSpPr>
              <p:spPr bwMode="auto">
                <a:xfrm>
                  <a:off x="1305039" y="3884262"/>
                  <a:ext cx="899312" cy="900726"/>
                </a:xfrm>
                <a:prstGeom prst="ellipse">
                  <a:avLst/>
                </a:prstGeom>
                <a:solidFill>
                  <a:schemeClr val="bg1"/>
                </a:solidFill>
                <a:ln w="57150">
                  <a:solidFill>
                    <a:schemeClr val="tx2">
                      <a:lumMod val="20000"/>
                      <a:lumOff val="80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id-ID"/>
                </a:p>
              </p:txBody>
            </p:sp>
            <p:sp>
              <p:nvSpPr>
                <p:cNvPr id="44" name="任意多边形: 形状 43">
                  <a:extLst>
                    <a:ext uri="{FF2B5EF4-FFF2-40B4-BE49-F238E27FC236}">
                      <a16:creationId xmlns:a16="http://schemas.microsoft.com/office/drawing/2014/main" id="{8D054152-59CE-4A2B-B0CD-F36A65193144}"/>
                    </a:ext>
                  </a:extLst>
                </p:cNvPr>
                <p:cNvSpPr/>
                <p:nvPr/>
              </p:nvSpPr>
              <p:spPr>
                <a:xfrm>
                  <a:off x="1573594" y="4148796"/>
                  <a:ext cx="362202" cy="371658"/>
                </a:xfrm>
                <a:custGeom>
                  <a:avLst/>
                  <a:gdLst>
                    <a:gd name="T0" fmla="*/ 4313 w 5734"/>
                    <a:gd name="T1" fmla="*/ 3918 h 5892"/>
                    <a:gd name="T2" fmla="*/ 5734 w 5734"/>
                    <a:gd name="T3" fmla="*/ 2497 h 5892"/>
                    <a:gd name="T4" fmla="*/ 4313 w 5734"/>
                    <a:gd name="T5" fmla="*/ 1076 h 5892"/>
                    <a:gd name="T6" fmla="*/ 4149 w 5734"/>
                    <a:gd name="T7" fmla="*/ 1085 h 5892"/>
                    <a:gd name="T8" fmla="*/ 3733 w 5734"/>
                    <a:gd name="T9" fmla="*/ 378 h 5892"/>
                    <a:gd name="T10" fmla="*/ 2768 w 5734"/>
                    <a:gd name="T11" fmla="*/ 0 h 5892"/>
                    <a:gd name="T12" fmla="*/ 1389 w 5734"/>
                    <a:gd name="T13" fmla="*/ 1076 h 5892"/>
                    <a:gd name="T14" fmla="*/ 0 w 5734"/>
                    <a:gd name="T15" fmla="*/ 2497 h 5892"/>
                    <a:gd name="T16" fmla="*/ 1421 w 5734"/>
                    <a:gd name="T17" fmla="*/ 3918 h 5892"/>
                    <a:gd name="T18" fmla="*/ 2140 w 5734"/>
                    <a:gd name="T19" fmla="*/ 3918 h 5892"/>
                    <a:gd name="T20" fmla="*/ 2140 w 5734"/>
                    <a:gd name="T21" fmla="*/ 4472 h 5892"/>
                    <a:gd name="T22" fmla="*/ 1315 w 5734"/>
                    <a:gd name="T23" fmla="*/ 4472 h 5892"/>
                    <a:gd name="T24" fmla="*/ 954 w 5734"/>
                    <a:gd name="T25" fmla="*/ 4259 h 5892"/>
                    <a:gd name="T26" fmla="*/ 540 w 5734"/>
                    <a:gd name="T27" fmla="*/ 4672 h 5892"/>
                    <a:gd name="T28" fmla="*/ 954 w 5734"/>
                    <a:gd name="T29" fmla="*/ 5086 h 5892"/>
                    <a:gd name="T30" fmla="*/ 1315 w 5734"/>
                    <a:gd name="T31" fmla="*/ 4872 h 5892"/>
                    <a:gd name="T32" fmla="*/ 2340 w 5734"/>
                    <a:gd name="T33" fmla="*/ 4872 h 5892"/>
                    <a:gd name="T34" fmla="*/ 2540 w 5734"/>
                    <a:gd name="T35" fmla="*/ 4672 h 5892"/>
                    <a:gd name="T36" fmla="*/ 2540 w 5734"/>
                    <a:gd name="T37" fmla="*/ 3918 h 5892"/>
                    <a:gd name="T38" fmla="*/ 2667 w 5734"/>
                    <a:gd name="T39" fmla="*/ 3918 h 5892"/>
                    <a:gd name="T40" fmla="*/ 2667 w 5734"/>
                    <a:gd name="T41" fmla="*/ 5117 h 5892"/>
                    <a:gd name="T42" fmla="*/ 2454 w 5734"/>
                    <a:gd name="T43" fmla="*/ 5479 h 5892"/>
                    <a:gd name="T44" fmla="*/ 2867 w 5734"/>
                    <a:gd name="T45" fmla="*/ 5892 h 5892"/>
                    <a:gd name="T46" fmla="*/ 3280 w 5734"/>
                    <a:gd name="T47" fmla="*/ 5479 h 5892"/>
                    <a:gd name="T48" fmla="*/ 3067 w 5734"/>
                    <a:gd name="T49" fmla="*/ 5117 h 5892"/>
                    <a:gd name="T50" fmla="*/ 3067 w 5734"/>
                    <a:gd name="T51" fmla="*/ 3918 h 5892"/>
                    <a:gd name="T52" fmla="*/ 3194 w 5734"/>
                    <a:gd name="T53" fmla="*/ 3918 h 5892"/>
                    <a:gd name="T54" fmla="*/ 3194 w 5734"/>
                    <a:gd name="T55" fmla="*/ 4691 h 5892"/>
                    <a:gd name="T56" fmla="*/ 3394 w 5734"/>
                    <a:gd name="T57" fmla="*/ 4891 h 5892"/>
                    <a:gd name="T58" fmla="*/ 4430 w 5734"/>
                    <a:gd name="T59" fmla="*/ 4891 h 5892"/>
                    <a:gd name="T60" fmla="*/ 4780 w 5734"/>
                    <a:gd name="T61" fmla="*/ 5085 h 5892"/>
                    <a:gd name="T62" fmla="*/ 5194 w 5734"/>
                    <a:gd name="T63" fmla="*/ 4672 h 5892"/>
                    <a:gd name="T64" fmla="*/ 4780 w 5734"/>
                    <a:gd name="T65" fmla="*/ 4259 h 5892"/>
                    <a:gd name="T66" fmla="*/ 4409 w 5734"/>
                    <a:gd name="T67" fmla="*/ 4491 h 5892"/>
                    <a:gd name="T68" fmla="*/ 3594 w 5734"/>
                    <a:gd name="T69" fmla="*/ 4491 h 5892"/>
                    <a:gd name="T70" fmla="*/ 3594 w 5734"/>
                    <a:gd name="T71" fmla="*/ 3918 h 5892"/>
                    <a:gd name="T72" fmla="*/ 4313 w 5734"/>
                    <a:gd name="T73" fmla="*/ 3918 h 58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734" h="5892">
                      <a:moveTo>
                        <a:pt x="4313" y="3918"/>
                      </a:moveTo>
                      <a:cubicBezTo>
                        <a:pt x="5096" y="3918"/>
                        <a:pt x="5734" y="3280"/>
                        <a:pt x="5734" y="2497"/>
                      </a:cubicBezTo>
                      <a:cubicBezTo>
                        <a:pt x="5734" y="1713"/>
                        <a:pt x="5096" y="1076"/>
                        <a:pt x="4313" y="1076"/>
                      </a:cubicBezTo>
                      <a:cubicBezTo>
                        <a:pt x="4258" y="1076"/>
                        <a:pt x="4203" y="1079"/>
                        <a:pt x="4149" y="1085"/>
                      </a:cubicBezTo>
                      <a:cubicBezTo>
                        <a:pt x="4084" y="816"/>
                        <a:pt x="3940" y="570"/>
                        <a:pt x="3733" y="378"/>
                      </a:cubicBezTo>
                      <a:cubicBezTo>
                        <a:pt x="3470" y="134"/>
                        <a:pt x="3127" y="0"/>
                        <a:pt x="2768" y="0"/>
                      </a:cubicBezTo>
                      <a:cubicBezTo>
                        <a:pt x="2107" y="0"/>
                        <a:pt x="1544" y="451"/>
                        <a:pt x="1389" y="1076"/>
                      </a:cubicBezTo>
                      <a:cubicBezTo>
                        <a:pt x="620" y="1093"/>
                        <a:pt x="0" y="1724"/>
                        <a:pt x="0" y="2497"/>
                      </a:cubicBezTo>
                      <a:cubicBezTo>
                        <a:pt x="0" y="3281"/>
                        <a:pt x="638" y="3918"/>
                        <a:pt x="1421" y="3918"/>
                      </a:cubicBezTo>
                      <a:lnTo>
                        <a:pt x="2140" y="3918"/>
                      </a:lnTo>
                      <a:lnTo>
                        <a:pt x="2140" y="4472"/>
                      </a:lnTo>
                      <a:lnTo>
                        <a:pt x="1315" y="4472"/>
                      </a:lnTo>
                      <a:cubicBezTo>
                        <a:pt x="1245" y="4345"/>
                        <a:pt x="1109" y="4259"/>
                        <a:pt x="954" y="4259"/>
                      </a:cubicBezTo>
                      <a:cubicBezTo>
                        <a:pt x="726" y="4259"/>
                        <a:pt x="540" y="4444"/>
                        <a:pt x="540" y="4672"/>
                      </a:cubicBezTo>
                      <a:cubicBezTo>
                        <a:pt x="540" y="4900"/>
                        <a:pt x="726" y="5086"/>
                        <a:pt x="954" y="5086"/>
                      </a:cubicBezTo>
                      <a:cubicBezTo>
                        <a:pt x="1109" y="5086"/>
                        <a:pt x="1245" y="4999"/>
                        <a:pt x="1315" y="4872"/>
                      </a:cubicBezTo>
                      <a:lnTo>
                        <a:pt x="2340" y="4872"/>
                      </a:lnTo>
                      <a:cubicBezTo>
                        <a:pt x="2451" y="4872"/>
                        <a:pt x="2540" y="4783"/>
                        <a:pt x="2540" y="4672"/>
                      </a:cubicBezTo>
                      <a:lnTo>
                        <a:pt x="2540" y="3918"/>
                      </a:lnTo>
                      <a:lnTo>
                        <a:pt x="2667" y="3918"/>
                      </a:lnTo>
                      <a:lnTo>
                        <a:pt x="2667" y="5117"/>
                      </a:lnTo>
                      <a:cubicBezTo>
                        <a:pt x="2540" y="5188"/>
                        <a:pt x="2454" y="5323"/>
                        <a:pt x="2454" y="5479"/>
                      </a:cubicBezTo>
                      <a:cubicBezTo>
                        <a:pt x="2454" y="5707"/>
                        <a:pt x="2639" y="5892"/>
                        <a:pt x="2867" y="5892"/>
                      </a:cubicBezTo>
                      <a:cubicBezTo>
                        <a:pt x="3095" y="5892"/>
                        <a:pt x="3280" y="5707"/>
                        <a:pt x="3280" y="5479"/>
                      </a:cubicBezTo>
                      <a:cubicBezTo>
                        <a:pt x="3280" y="5323"/>
                        <a:pt x="3194" y="5188"/>
                        <a:pt x="3067" y="5117"/>
                      </a:cubicBezTo>
                      <a:lnTo>
                        <a:pt x="3067" y="3918"/>
                      </a:lnTo>
                      <a:lnTo>
                        <a:pt x="3194" y="3918"/>
                      </a:lnTo>
                      <a:lnTo>
                        <a:pt x="3194" y="4691"/>
                      </a:lnTo>
                      <a:cubicBezTo>
                        <a:pt x="3194" y="4802"/>
                        <a:pt x="3283" y="4891"/>
                        <a:pt x="3394" y="4891"/>
                      </a:cubicBezTo>
                      <a:lnTo>
                        <a:pt x="4430" y="4891"/>
                      </a:lnTo>
                      <a:cubicBezTo>
                        <a:pt x="4503" y="5008"/>
                        <a:pt x="4633" y="5085"/>
                        <a:pt x="4780" y="5085"/>
                      </a:cubicBezTo>
                      <a:cubicBezTo>
                        <a:pt x="5008" y="5085"/>
                        <a:pt x="5194" y="4900"/>
                        <a:pt x="5194" y="4672"/>
                      </a:cubicBezTo>
                      <a:cubicBezTo>
                        <a:pt x="5194" y="4444"/>
                        <a:pt x="5008" y="4259"/>
                        <a:pt x="4780" y="4259"/>
                      </a:cubicBezTo>
                      <a:cubicBezTo>
                        <a:pt x="4617" y="4259"/>
                        <a:pt x="4476" y="4354"/>
                        <a:pt x="4409" y="4491"/>
                      </a:cubicBezTo>
                      <a:lnTo>
                        <a:pt x="3594" y="4491"/>
                      </a:lnTo>
                      <a:lnTo>
                        <a:pt x="3594" y="3918"/>
                      </a:lnTo>
                      <a:lnTo>
                        <a:pt x="4313" y="3918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12700">
                  <a:miter lim="400000"/>
                </a:ln>
              </p:spPr>
              <p:txBody>
                <a:bodyPr lIns="19045" tIns="19045" rIns="19045" bIns="19045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228532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 sz="3000" cap="none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</a:defRPr>
                  </a:pPr>
                  <a:endParaRPr sz="15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endParaRPr>
                </a:p>
              </p:txBody>
            </p:sp>
          </p:grpSp>
          <p:grpSp>
            <p:nvGrpSpPr>
              <p:cNvPr id="40" name="组合 39">
                <a:extLst>
                  <a:ext uri="{FF2B5EF4-FFF2-40B4-BE49-F238E27FC236}">
                    <a16:creationId xmlns:a16="http://schemas.microsoft.com/office/drawing/2014/main" id="{38988C4A-D230-4214-ADF8-CB66A937A87D}"/>
                  </a:ext>
                </a:extLst>
              </p:cNvPr>
              <p:cNvGrpSpPr/>
              <p:nvPr/>
            </p:nvGrpSpPr>
            <p:grpSpPr>
              <a:xfrm>
                <a:off x="686345" y="4959840"/>
                <a:ext cx="1580392" cy="1138111"/>
                <a:chOff x="735360" y="4366332"/>
                <a:chExt cx="2030888" cy="1138111"/>
              </a:xfrm>
            </p:grpSpPr>
            <p:sp>
              <p:nvSpPr>
                <p:cNvPr id="41" name="文本框 40">
                  <a:extLst>
                    <a:ext uri="{FF2B5EF4-FFF2-40B4-BE49-F238E27FC236}">
                      <a16:creationId xmlns:a16="http://schemas.microsoft.com/office/drawing/2014/main" id="{F60F91CB-A27A-4CEF-B62A-F525C8EABE6F}"/>
                    </a:ext>
                  </a:extLst>
                </p:cNvPr>
                <p:cNvSpPr txBox="1"/>
                <p:nvPr/>
              </p:nvSpPr>
              <p:spPr bwMode="auto">
                <a:xfrm>
                  <a:off x="735360" y="4366332"/>
                  <a:ext cx="2030888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 algn="ctr"/>
                  <a:r>
                    <a:rPr lang="en-US" altLang="zh-CN" b="1" dirty="0"/>
                    <a:t>…</a:t>
                  </a:r>
                  <a:r>
                    <a:rPr lang="zh-CN" altLang="en-US" b="1" dirty="0"/>
                    <a:t>计划</a:t>
                  </a:r>
                </a:p>
              </p:txBody>
            </p:sp>
            <p:sp>
              <p:nvSpPr>
                <p:cNvPr id="42" name="文本框 41">
                  <a:extLst>
                    <a:ext uri="{FF2B5EF4-FFF2-40B4-BE49-F238E27FC236}">
                      <a16:creationId xmlns:a16="http://schemas.microsoft.com/office/drawing/2014/main" id="{9B78553A-B717-4CF7-8EAE-1F2806B0A791}"/>
                    </a:ext>
                  </a:extLst>
                </p:cNvPr>
                <p:cNvSpPr txBox="1"/>
                <p:nvPr/>
              </p:nvSpPr>
              <p:spPr>
                <a:xfrm>
                  <a:off x="735360" y="4808137"/>
                  <a:ext cx="2030888" cy="696306"/>
                </a:xfrm>
                <a:prstGeom prst="rect">
                  <a:avLst/>
                </a:prstGeom>
              </p:spPr>
              <p:txBody>
                <a:bodyPr wrap="square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lnSpc>
                      <a:spcPct val="150000"/>
                    </a:lnSpc>
                    <a:spcBef>
                      <a:spcPct val="0"/>
                    </a:spcBef>
                    <a:buNone/>
                  </a:pPr>
                  <a:r>
                    <a:rPr lang="en-US" altLang="zh-CN" sz="1100" dirty="0"/>
                    <a:t>Supporting text here. </a:t>
                  </a:r>
                </a:p>
                <a:p>
                  <a:pPr marL="0" indent="0" algn="ctr">
                    <a:lnSpc>
                      <a:spcPct val="150000"/>
                    </a:lnSpc>
                    <a:spcBef>
                      <a:spcPct val="0"/>
                    </a:spcBef>
                    <a:buNone/>
                  </a:pPr>
                  <a:r>
                    <a:rPr lang="en-US" altLang="zh-CN" sz="1100" dirty="0"/>
                    <a:t>……</a:t>
                  </a:r>
                  <a:endParaRPr lang="zh-CN" altLang="en-US" sz="1100" dirty="0"/>
                </a:p>
              </p:txBody>
            </p:sp>
          </p:grp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58CDA257-2BC7-4DE8-8658-2D77319318A6}"/>
                </a:ext>
              </a:extLst>
            </p:cNvPr>
            <p:cNvGrpSpPr/>
            <p:nvPr/>
          </p:nvGrpSpPr>
          <p:grpSpPr>
            <a:xfrm>
              <a:off x="4391385" y="4190166"/>
              <a:ext cx="1580392" cy="1907785"/>
              <a:chOff x="686345" y="4190166"/>
              <a:chExt cx="1580392" cy="1907785"/>
            </a:xfrm>
          </p:grpSpPr>
          <p:grpSp>
            <p:nvGrpSpPr>
              <p:cNvPr id="33" name="组合 32">
                <a:extLst>
                  <a:ext uri="{FF2B5EF4-FFF2-40B4-BE49-F238E27FC236}">
                    <a16:creationId xmlns:a16="http://schemas.microsoft.com/office/drawing/2014/main" id="{0D395FB0-9CB6-415E-B9FE-5BE6ECA28698}"/>
                  </a:ext>
                </a:extLst>
              </p:cNvPr>
              <p:cNvGrpSpPr/>
              <p:nvPr/>
            </p:nvGrpSpPr>
            <p:grpSpPr>
              <a:xfrm>
                <a:off x="1134723" y="4190166"/>
                <a:ext cx="691418" cy="692506"/>
                <a:chOff x="1305039" y="3884262"/>
                <a:chExt cx="899312" cy="900726"/>
              </a:xfrm>
            </p:grpSpPr>
            <p:sp>
              <p:nvSpPr>
                <p:cNvPr id="37" name="椭圆 36">
                  <a:extLst>
                    <a:ext uri="{FF2B5EF4-FFF2-40B4-BE49-F238E27FC236}">
                      <a16:creationId xmlns:a16="http://schemas.microsoft.com/office/drawing/2014/main" id="{95425DCD-951B-4662-A578-206519A24B20}"/>
                    </a:ext>
                  </a:extLst>
                </p:cNvPr>
                <p:cNvSpPr/>
                <p:nvPr/>
              </p:nvSpPr>
              <p:spPr bwMode="auto">
                <a:xfrm>
                  <a:off x="1305039" y="3884262"/>
                  <a:ext cx="899312" cy="900726"/>
                </a:xfrm>
                <a:prstGeom prst="ellipse">
                  <a:avLst/>
                </a:prstGeom>
                <a:solidFill>
                  <a:schemeClr val="bg1"/>
                </a:solidFill>
                <a:ln w="57150">
                  <a:solidFill>
                    <a:schemeClr val="tx2">
                      <a:lumMod val="20000"/>
                      <a:lumOff val="80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id-ID"/>
                </a:p>
              </p:txBody>
            </p:sp>
            <p:sp>
              <p:nvSpPr>
                <p:cNvPr id="38" name="任意多边形: 形状 37">
                  <a:extLst>
                    <a:ext uri="{FF2B5EF4-FFF2-40B4-BE49-F238E27FC236}">
                      <a16:creationId xmlns:a16="http://schemas.microsoft.com/office/drawing/2014/main" id="{601E554A-6734-4CB4-936C-A15540A37C02}"/>
                    </a:ext>
                  </a:extLst>
                </p:cNvPr>
                <p:cNvSpPr/>
                <p:nvPr/>
              </p:nvSpPr>
              <p:spPr>
                <a:xfrm>
                  <a:off x="1573594" y="4148796"/>
                  <a:ext cx="362202" cy="371658"/>
                </a:xfrm>
                <a:custGeom>
                  <a:avLst/>
                  <a:gdLst>
                    <a:gd name="T0" fmla="*/ 4313 w 5734"/>
                    <a:gd name="T1" fmla="*/ 3918 h 5892"/>
                    <a:gd name="T2" fmla="*/ 5734 w 5734"/>
                    <a:gd name="T3" fmla="*/ 2497 h 5892"/>
                    <a:gd name="T4" fmla="*/ 4313 w 5734"/>
                    <a:gd name="T5" fmla="*/ 1076 h 5892"/>
                    <a:gd name="T6" fmla="*/ 4149 w 5734"/>
                    <a:gd name="T7" fmla="*/ 1085 h 5892"/>
                    <a:gd name="T8" fmla="*/ 3733 w 5734"/>
                    <a:gd name="T9" fmla="*/ 378 h 5892"/>
                    <a:gd name="T10" fmla="*/ 2768 w 5734"/>
                    <a:gd name="T11" fmla="*/ 0 h 5892"/>
                    <a:gd name="T12" fmla="*/ 1389 w 5734"/>
                    <a:gd name="T13" fmla="*/ 1076 h 5892"/>
                    <a:gd name="T14" fmla="*/ 0 w 5734"/>
                    <a:gd name="T15" fmla="*/ 2497 h 5892"/>
                    <a:gd name="T16" fmla="*/ 1421 w 5734"/>
                    <a:gd name="T17" fmla="*/ 3918 h 5892"/>
                    <a:gd name="T18" fmla="*/ 2140 w 5734"/>
                    <a:gd name="T19" fmla="*/ 3918 h 5892"/>
                    <a:gd name="T20" fmla="*/ 2140 w 5734"/>
                    <a:gd name="T21" fmla="*/ 4472 h 5892"/>
                    <a:gd name="T22" fmla="*/ 1315 w 5734"/>
                    <a:gd name="T23" fmla="*/ 4472 h 5892"/>
                    <a:gd name="T24" fmla="*/ 954 w 5734"/>
                    <a:gd name="T25" fmla="*/ 4259 h 5892"/>
                    <a:gd name="T26" fmla="*/ 540 w 5734"/>
                    <a:gd name="T27" fmla="*/ 4672 h 5892"/>
                    <a:gd name="T28" fmla="*/ 954 w 5734"/>
                    <a:gd name="T29" fmla="*/ 5086 h 5892"/>
                    <a:gd name="T30" fmla="*/ 1315 w 5734"/>
                    <a:gd name="T31" fmla="*/ 4872 h 5892"/>
                    <a:gd name="T32" fmla="*/ 2340 w 5734"/>
                    <a:gd name="T33" fmla="*/ 4872 h 5892"/>
                    <a:gd name="T34" fmla="*/ 2540 w 5734"/>
                    <a:gd name="T35" fmla="*/ 4672 h 5892"/>
                    <a:gd name="T36" fmla="*/ 2540 w 5734"/>
                    <a:gd name="T37" fmla="*/ 3918 h 5892"/>
                    <a:gd name="T38" fmla="*/ 2667 w 5734"/>
                    <a:gd name="T39" fmla="*/ 3918 h 5892"/>
                    <a:gd name="T40" fmla="*/ 2667 w 5734"/>
                    <a:gd name="T41" fmla="*/ 5117 h 5892"/>
                    <a:gd name="T42" fmla="*/ 2454 w 5734"/>
                    <a:gd name="T43" fmla="*/ 5479 h 5892"/>
                    <a:gd name="T44" fmla="*/ 2867 w 5734"/>
                    <a:gd name="T45" fmla="*/ 5892 h 5892"/>
                    <a:gd name="T46" fmla="*/ 3280 w 5734"/>
                    <a:gd name="T47" fmla="*/ 5479 h 5892"/>
                    <a:gd name="T48" fmla="*/ 3067 w 5734"/>
                    <a:gd name="T49" fmla="*/ 5117 h 5892"/>
                    <a:gd name="T50" fmla="*/ 3067 w 5734"/>
                    <a:gd name="T51" fmla="*/ 3918 h 5892"/>
                    <a:gd name="T52" fmla="*/ 3194 w 5734"/>
                    <a:gd name="T53" fmla="*/ 3918 h 5892"/>
                    <a:gd name="T54" fmla="*/ 3194 w 5734"/>
                    <a:gd name="T55" fmla="*/ 4691 h 5892"/>
                    <a:gd name="T56" fmla="*/ 3394 w 5734"/>
                    <a:gd name="T57" fmla="*/ 4891 h 5892"/>
                    <a:gd name="T58" fmla="*/ 4430 w 5734"/>
                    <a:gd name="T59" fmla="*/ 4891 h 5892"/>
                    <a:gd name="T60" fmla="*/ 4780 w 5734"/>
                    <a:gd name="T61" fmla="*/ 5085 h 5892"/>
                    <a:gd name="T62" fmla="*/ 5194 w 5734"/>
                    <a:gd name="T63" fmla="*/ 4672 h 5892"/>
                    <a:gd name="T64" fmla="*/ 4780 w 5734"/>
                    <a:gd name="T65" fmla="*/ 4259 h 5892"/>
                    <a:gd name="T66" fmla="*/ 4409 w 5734"/>
                    <a:gd name="T67" fmla="*/ 4491 h 5892"/>
                    <a:gd name="T68" fmla="*/ 3594 w 5734"/>
                    <a:gd name="T69" fmla="*/ 4491 h 5892"/>
                    <a:gd name="T70" fmla="*/ 3594 w 5734"/>
                    <a:gd name="T71" fmla="*/ 3918 h 5892"/>
                    <a:gd name="T72" fmla="*/ 4313 w 5734"/>
                    <a:gd name="T73" fmla="*/ 3918 h 58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734" h="5892">
                      <a:moveTo>
                        <a:pt x="4313" y="3918"/>
                      </a:moveTo>
                      <a:cubicBezTo>
                        <a:pt x="5096" y="3918"/>
                        <a:pt x="5734" y="3280"/>
                        <a:pt x="5734" y="2497"/>
                      </a:cubicBezTo>
                      <a:cubicBezTo>
                        <a:pt x="5734" y="1713"/>
                        <a:pt x="5096" y="1076"/>
                        <a:pt x="4313" y="1076"/>
                      </a:cubicBezTo>
                      <a:cubicBezTo>
                        <a:pt x="4258" y="1076"/>
                        <a:pt x="4203" y="1079"/>
                        <a:pt x="4149" y="1085"/>
                      </a:cubicBezTo>
                      <a:cubicBezTo>
                        <a:pt x="4084" y="816"/>
                        <a:pt x="3940" y="570"/>
                        <a:pt x="3733" y="378"/>
                      </a:cubicBezTo>
                      <a:cubicBezTo>
                        <a:pt x="3470" y="134"/>
                        <a:pt x="3127" y="0"/>
                        <a:pt x="2768" y="0"/>
                      </a:cubicBezTo>
                      <a:cubicBezTo>
                        <a:pt x="2107" y="0"/>
                        <a:pt x="1544" y="451"/>
                        <a:pt x="1389" y="1076"/>
                      </a:cubicBezTo>
                      <a:cubicBezTo>
                        <a:pt x="620" y="1093"/>
                        <a:pt x="0" y="1724"/>
                        <a:pt x="0" y="2497"/>
                      </a:cubicBezTo>
                      <a:cubicBezTo>
                        <a:pt x="0" y="3281"/>
                        <a:pt x="638" y="3918"/>
                        <a:pt x="1421" y="3918"/>
                      </a:cubicBezTo>
                      <a:lnTo>
                        <a:pt x="2140" y="3918"/>
                      </a:lnTo>
                      <a:lnTo>
                        <a:pt x="2140" y="4472"/>
                      </a:lnTo>
                      <a:lnTo>
                        <a:pt x="1315" y="4472"/>
                      </a:lnTo>
                      <a:cubicBezTo>
                        <a:pt x="1245" y="4345"/>
                        <a:pt x="1109" y="4259"/>
                        <a:pt x="954" y="4259"/>
                      </a:cubicBezTo>
                      <a:cubicBezTo>
                        <a:pt x="726" y="4259"/>
                        <a:pt x="540" y="4444"/>
                        <a:pt x="540" y="4672"/>
                      </a:cubicBezTo>
                      <a:cubicBezTo>
                        <a:pt x="540" y="4900"/>
                        <a:pt x="726" y="5086"/>
                        <a:pt x="954" y="5086"/>
                      </a:cubicBezTo>
                      <a:cubicBezTo>
                        <a:pt x="1109" y="5086"/>
                        <a:pt x="1245" y="4999"/>
                        <a:pt x="1315" y="4872"/>
                      </a:cubicBezTo>
                      <a:lnTo>
                        <a:pt x="2340" y="4872"/>
                      </a:lnTo>
                      <a:cubicBezTo>
                        <a:pt x="2451" y="4872"/>
                        <a:pt x="2540" y="4783"/>
                        <a:pt x="2540" y="4672"/>
                      </a:cubicBezTo>
                      <a:lnTo>
                        <a:pt x="2540" y="3918"/>
                      </a:lnTo>
                      <a:lnTo>
                        <a:pt x="2667" y="3918"/>
                      </a:lnTo>
                      <a:lnTo>
                        <a:pt x="2667" y="5117"/>
                      </a:lnTo>
                      <a:cubicBezTo>
                        <a:pt x="2540" y="5188"/>
                        <a:pt x="2454" y="5323"/>
                        <a:pt x="2454" y="5479"/>
                      </a:cubicBezTo>
                      <a:cubicBezTo>
                        <a:pt x="2454" y="5707"/>
                        <a:pt x="2639" y="5892"/>
                        <a:pt x="2867" y="5892"/>
                      </a:cubicBezTo>
                      <a:cubicBezTo>
                        <a:pt x="3095" y="5892"/>
                        <a:pt x="3280" y="5707"/>
                        <a:pt x="3280" y="5479"/>
                      </a:cubicBezTo>
                      <a:cubicBezTo>
                        <a:pt x="3280" y="5323"/>
                        <a:pt x="3194" y="5188"/>
                        <a:pt x="3067" y="5117"/>
                      </a:cubicBezTo>
                      <a:lnTo>
                        <a:pt x="3067" y="3918"/>
                      </a:lnTo>
                      <a:lnTo>
                        <a:pt x="3194" y="3918"/>
                      </a:lnTo>
                      <a:lnTo>
                        <a:pt x="3194" y="4691"/>
                      </a:lnTo>
                      <a:cubicBezTo>
                        <a:pt x="3194" y="4802"/>
                        <a:pt x="3283" y="4891"/>
                        <a:pt x="3394" y="4891"/>
                      </a:cubicBezTo>
                      <a:lnTo>
                        <a:pt x="4430" y="4891"/>
                      </a:lnTo>
                      <a:cubicBezTo>
                        <a:pt x="4503" y="5008"/>
                        <a:pt x="4633" y="5085"/>
                        <a:pt x="4780" y="5085"/>
                      </a:cubicBezTo>
                      <a:cubicBezTo>
                        <a:pt x="5008" y="5085"/>
                        <a:pt x="5194" y="4900"/>
                        <a:pt x="5194" y="4672"/>
                      </a:cubicBezTo>
                      <a:cubicBezTo>
                        <a:pt x="5194" y="4444"/>
                        <a:pt x="5008" y="4259"/>
                        <a:pt x="4780" y="4259"/>
                      </a:cubicBezTo>
                      <a:cubicBezTo>
                        <a:pt x="4617" y="4259"/>
                        <a:pt x="4476" y="4354"/>
                        <a:pt x="4409" y="4491"/>
                      </a:cubicBezTo>
                      <a:lnTo>
                        <a:pt x="3594" y="4491"/>
                      </a:lnTo>
                      <a:lnTo>
                        <a:pt x="3594" y="3918"/>
                      </a:lnTo>
                      <a:lnTo>
                        <a:pt x="4313" y="3918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12700">
                  <a:miter lim="400000"/>
                </a:ln>
              </p:spPr>
              <p:txBody>
                <a:bodyPr lIns="19045" tIns="19045" rIns="19045" bIns="19045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228532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 sz="3000" cap="none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</a:defRPr>
                  </a:pPr>
                  <a:endParaRPr sz="15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endParaRPr>
                </a:p>
              </p:txBody>
            </p:sp>
          </p:grpSp>
          <p:grpSp>
            <p:nvGrpSpPr>
              <p:cNvPr id="34" name="组合 33">
                <a:extLst>
                  <a:ext uri="{FF2B5EF4-FFF2-40B4-BE49-F238E27FC236}">
                    <a16:creationId xmlns:a16="http://schemas.microsoft.com/office/drawing/2014/main" id="{95747B27-0C3A-42FB-BA1D-C890F0797C9F}"/>
                  </a:ext>
                </a:extLst>
              </p:cNvPr>
              <p:cNvGrpSpPr/>
              <p:nvPr/>
            </p:nvGrpSpPr>
            <p:grpSpPr>
              <a:xfrm>
                <a:off x="686345" y="4959840"/>
                <a:ext cx="1580392" cy="1138111"/>
                <a:chOff x="735360" y="4366332"/>
                <a:chExt cx="2030888" cy="1138111"/>
              </a:xfrm>
            </p:grpSpPr>
            <p:sp>
              <p:nvSpPr>
                <p:cNvPr id="35" name="文本框 34">
                  <a:extLst>
                    <a:ext uri="{FF2B5EF4-FFF2-40B4-BE49-F238E27FC236}">
                      <a16:creationId xmlns:a16="http://schemas.microsoft.com/office/drawing/2014/main" id="{27019435-CA62-4308-AAA5-E1CDDDF2BE25}"/>
                    </a:ext>
                  </a:extLst>
                </p:cNvPr>
                <p:cNvSpPr txBox="1"/>
                <p:nvPr/>
              </p:nvSpPr>
              <p:spPr bwMode="auto">
                <a:xfrm>
                  <a:off x="735360" y="4366332"/>
                  <a:ext cx="2030888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 algn="ctr"/>
                  <a:r>
                    <a:rPr lang="en-US" altLang="zh-CN" b="1" dirty="0"/>
                    <a:t>…</a:t>
                  </a:r>
                  <a:r>
                    <a:rPr lang="zh-CN" altLang="en-US" b="1" dirty="0"/>
                    <a:t>计划</a:t>
                  </a:r>
                </a:p>
              </p:txBody>
            </p:sp>
            <p:sp>
              <p:nvSpPr>
                <p:cNvPr id="36" name="文本框 35">
                  <a:extLst>
                    <a:ext uri="{FF2B5EF4-FFF2-40B4-BE49-F238E27FC236}">
                      <a16:creationId xmlns:a16="http://schemas.microsoft.com/office/drawing/2014/main" id="{CF8D846E-579A-4211-A8B2-657AAB7E61D1}"/>
                    </a:ext>
                  </a:extLst>
                </p:cNvPr>
                <p:cNvSpPr txBox="1"/>
                <p:nvPr/>
              </p:nvSpPr>
              <p:spPr>
                <a:xfrm>
                  <a:off x="735360" y="4808137"/>
                  <a:ext cx="2030888" cy="696306"/>
                </a:xfrm>
                <a:prstGeom prst="rect">
                  <a:avLst/>
                </a:prstGeom>
              </p:spPr>
              <p:txBody>
                <a:bodyPr wrap="square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lnSpc>
                      <a:spcPct val="150000"/>
                    </a:lnSpc>
                    <a:spcBef>
                      <a:spcPct val="0"/>
                    </a:spcBef>
                    <a:buNone/>
                  </a:pPr>
                  <a:r>
                    <a:rPr lang="en-US" altLang="zh-CN" sz="1100" dirty="0"/>
                    <a:t>Supporting text here. </a:t>
                  </a:r>
                </a:p>
                <a:p>
                  <a:pPr marL="0" indent="0" algn="ctr">
                    <a:lnSpc>
                      <a:spcPct val="150000"/>
                    </a:lnSpc>
                    <a:spcBef>
                      <a:spcPct val="0"/>
                    </a:spcBef>
                    <a:buNone/>
                  </a:pPr>
                  <a:r>
                    <a:rPr lang="en-US" altLang="zh-CN" sz="1100" dirty="0"/>
                    <a:t>……</a:t>
                  </a:r>
                  <a:endParaRPr lang="zh-CN" altLang="en-US" sz="1100" dirty="0"/>
                </a:p>
              </p:txBody>
            </p:sp>
          </p:grp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FC36EDA2-9855-4CE9-9428-2D94C71FC0BD}"/>
                </a:ext>
              </a:extLst>
            </p:cNvPr>
            <p:cNvGrpSpPr/>
            <p:nvPr/>
          </p:nvGrpSpPr>
          <p:grpSpPr>
            <a:xfrm>
              <a:off x="6243905" y="4190166"/>
              <a:ext cx="1580392" cy="1907785"/>
              <a:chOff x="686345" y="4190166"/>
              <a:chExt cx="1580392" cy="1907785"/>
            </a:xfrm>
          </p:grpSpPr>
          <p:grpSp>
            <p:nvGrpSpPr>
              <p:cNvPr id="27" name="组合 26">
                <a:extLst>
                  <a:ext uri="{FF2B5EF4-FFF2-40B4-BE49-F238E27FC236}">
                    <a16:creationId xmlns:a16="http://schemas.microsoft.com/office/drawing/2014/main" id="{D627452C-5816-44BB-B5AF-95D4AF82DF03}"/>
                  </a:ext>
                </a:extLst>
              </p:cNvPr>
              <p:cNvGrpSpPr/>
              <p:nvPr/>
            </p:nvGrpSpPr>
            <p:grpSpPr>
              <a:xfrm>
                <a:off x="1134723" y="4190166"/>
                <a:ext cx="691418" cy="692506"/>
                <a:chOff x="1305039" y="3884262"/>
                <a:chExt cx="899312" cy="900726"/>
              </a:xfrm>
            </p:grpSpPr>
            <p:sp>
              <p:nvSpPr>
                <p:cNvPr id="31" name="椭圆 30">
                  <a:extLst>
                    <a:ext uri="{FF2B5EF4-FFF2-40B4-BE49-F238E27FC236}">
                      <a16:creationId xmlns:a16="http://schemas.microsoft.com/office/drawing/2014/main" id="{57B9FB82-7665-45B5-9365-273DC177627E}"/>
                    </a:ext>
                  </a:extLst>
                </p:cNvPr>
                <p:cNvSpPr/>
                <p:nvPr/>
              </p:nvSpPr>
              <p:spPr bwMode="auto">
                <a:xfrm>
                  <a:off x="1305039" y="3884262"/>
                  <a:ext cx="899312" cy="900726"/>
                </a:xfrm>
                <a:prstGeom prst="ellipse">
                  <a:avLst/>
                </a:prstGeom>
                <a:solidFill>
                  <a:schemeClr val="bg1"/>
                </a:solidFill>
                <a:ln w="57150">
                  <a:solidFill>
                    <a:schemeClr val="tx2">
                      <a:lumMod val="20000"/>
                      <a:lumOff val="80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id-ID"/>
                </a:p>
              </p:txBody>
            </p:sp>
            <p:sp>
              <p:nvSpPr>
                <p:cNvPr id="32" name="任意多边形: 形状 31">
                  <a:extLst>
                    <a:ext uri="{FF2B5EF4-FFF2-40B4-BE49-F238E27FC236}">
                      <a16:creationId xmlns:a16="http://schemas.microsoft.com/office/drawing/2014/main" id="{54A83910-8EA6-4507-A358-5F790061FED9}"/>
                    </a:ext>
                  </a:extLst>
                </p:cNvPr>
                <p:cNvSpPr/>
                <p:nvPr/>
              </p:nvSpPr>
              <p:spPr>
                <a:xfrm>
                  <a:off x="1573594" y="4148796"/>
                  <a:ext cx="362202" cy="371658"/>
                </a:xfrm>
                <a:custGeom>
                  <a:avLst/>
                  <a:gdLst>
                    <a:gd name="T0" fmla="*/ 4313 w 5734"/>
                    <a:gd name="T1" fmla="*/ 3918 h 5892"/>
                    <a:gd name="T2" fmla="*/ 5734 w 5734"/>
                    <a:gd name="T3" fmla="*/ 2497 h 5892"/>
                    <a:gd name="T4" fmla="*/ 4313 w 5734"/>
                    <a:gd name="T5" fmla="*/ 1076 h 5892"/>
                    <a:gd name="T6" fmla="*/ 4149 w 5734"/>
                    <a:gd name="T7" fmla="*/ 1085 h 5892"/>
                    <a:gd name="T8" fmla="*/ 3733 w 5734"/>
                    <a:gd name="T9" fmla="*/ 378 h 5892"/>
                    <a:gd name="T10" fmla="*/ 2768 w 5734"/>
                    <a:gd name="T11" fmla="*/ 0 h 5892"/>
                    <a:gd name="T12" fmla="*/ 1389 w 5734"/>
                    <a:gd name="T13" fmla="*/ 1076 h 5892"/>
                    <a:gd name="T14" fmla="*/ 0 w 5734"/>
                    <a:gd name="T15" fmla="*/ 2497 h 5892"/>
                    <a:gd name="T16" fmla="*/ 1421 w 5734"/>
                    <a:gd name="T17" fmla="*/ 3918 h 5892"/>
                    <a:gd name="T18" fmla="*/ 2140 w 5734"/>
                    <a:gd name="T19" fmla="*/ 3918 h 5892"/>
                    <a:gd name="T20" fmla="*/ 2140 w 5734"/>
                    <a:gd name="T21" fmla="*/ 4472 h 5892"/>
                    <a:gd name="T22" fmla="*/ 1315 w 5734"/>
                    <a:gd name="T23" fmla="*/ 4472 h 5892"/>
                    <a:gd name="T24" fmla="*/ 954 w 5734"/>
                    <a:gd name="T25" fmla="*/ 4259 h 5892"/>
                    <a:gd name="T26" fmla="*/ 540 w 5734"/>
                    <a:gd name="T27" fmla="*/ 4672 h 5892"/>
                    <a:gd name="T28" fmla="*/ 954 w 5734"/>
                    <a:gd name="T29" fmla="*/ 5086 h 5892"/>
                    <a:gd name="T30" fmla="*/ 1315 w 5734"/>
                    <a:gd name="T31" fmla="*/ 4872 h 5892"/>
                    <a:gd name="T32" fmla="*/ 2340 w 5734"/>
                    <a:gd name="T33" fmla="*/ 4872 h 5892"/>
                    <a:gd name="T34" fmla="*/ 2540 w 5734"/>
                    <a:gd name="T35" fmla="*/ 4672 h 5892"/>
                    <a:gd name="T36" fmla="*/ 2540 w 5734"/>
                    <a:gd name="T37" fmla="*/ 3918 h 5892"/>
                    <a:gd name="T38" fmla="*/ 2667 w 5734"/>
                    <a:gd name="T39" fmla="*/ 3918 h 5892"/>
                    <a:gd name="T40" fmla="*/ 2667 w 5734"/>
                    <a:gd name="T41" fmla="*/ 5117 h 5892"/>
                    <a:gd name="T42" fmla="*/ 2454 w 5734"/>
                    <a:gd name="T43" fmla="*/ 5479 h 5892"/>
                    <a:gd name="T44" fmla="*/ 2867 w 5734"/>
                    <a:gd name="T45" fmla="*/ 5892 h 5892"/>
                    <a:gd name="T46" fmla="*/ 3280 w 5734"/>
                    <a:gd name="T47" fmla="*/ 5479 h 5892"/>
                    <a:gd name="T48" fmla="*/ 3067 w 5734"/>
                    <a:gd name="T49" fmla="*/ 5117 h 5892"/>
                    <a:gd name="T50" fmla="*/ 3067 w 5734"/>
                    <a:gd name="T51" fmla="*/ 3918 h 5892"/>
                    <a:gd name="T52" fmla="*/ 3194 w 5734"/>
                    <a:gd name="T53" fmla="*/ 3918 h 5892"/>
                    <a:gd name="T54" fmla="*/ 3194 w 5734"/>
                    <a:gd name="T55" fmla="*/ 4691 h 5892"/>
                    <a:gd name="T56" fmla="*/ 3394 w 5734"/>
                    <a:gd name="T57" fmla="*/ 4891 h 5892"/>
                    <a:gd name="T58" fmla="*/ 4430 w 5734"/>
                    <a:gd name="T59" fmla="*/ 4891 h 5892"/>
                    <a:gd name="T60" fmla="*/ 4780 w 5734"/>
                    <a:gd name="T61" fmla="*/ 5085 h 5892"/>
                    <a:gd name="T62" fmla="*/ 5194 w 5734"/>
                    <a:gd name="T63" fmla="*/ 4672 h 5892"/>
                    <a:gd name="T64" fmla="*/ 4780 w 5734"/>
                    <a:gd name="T65" fmla="*/ 4259 h 5892"/>
                    <a:gd name="T66" fmla="*/ 4409 w 5734"/>
                    <a:gd name="T67" fmla="*/ 4491 h 5892"/>
                    <a:gd name="T68" fmla="*/ 3594 w 5734"/>
                    <a:gd name="T69" fmla="*/ 4491 h 5892"/>
                    <a:gd name="T70" fmla="*/ 3594 w 5734"/>
                    <a:gd name="T71" fmla="*/ 3918 h 5892"/>
                    <a:gd name="T72" fmla="*/ 4313 w 5734"/>
                    <a:gd name="T73" fmla="*/ 3918 h 58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734" h="5892">
                      <a:moveTo>
                        <a:pt x="4313" y="3918"/>
                      </a:moveTo>
                      <a:cubicBezTo>
                        <a:pt x="5096" y="3918"/>
                        <a:pt x="5734" y="3280"/>
                        <a:pt x="5734" y="2497"/>
                      </a:cubicBezTo>
                      <a:cubicBezTo>
                        <a:pt x="5734" y="1713"/>
                        <a:pt x="5096" y="1076"/>
                        <a:pt x="4313" y="1076"/>
                      </a:cubicBezTo>
                      <a:cubicBezTo>
                        <a:pt x="4258" y="1076"/>
                        <a:pt x="4203" y="1079"/>
                        <a:pt x="4149" y="1085"/>
                      </a:cubicBezTo>
                      <a:cubicBezTo>
                        <a:pt x="4084" y="816"/>
                        <a:pt x="3940" y="570"/>
                        <a:pt x="3733" y="378"/>
                      </a:cubicBezTo>
                      <a:cubicBezTo>
                        <a:pt x="3470" y="134"/>
                        <a:pt x="3127" y="0"/>
                        <a:pt x="2768" y="0"/>
                      </a:cubicBezTo>
                      <a:cubicBezTo>
                        <a:pt x="2107" y="0"/>
                        <a:pt x="1544" y="451"/>
                        <a:pt x="1389" y="1076"/>
                      </a:cubicBezTo>
                      <a:cubicBezTo>
                        <a:pt x="620" y="1093"/>
                        <a:pt x="0" y="1724"/>
                        <a:pt x="0" y="2497"/>
                      </a:cubicBezTo>
                      <a:cubicBezTo>
                        <a:pt x="0" y="3281"/>
                        <a:pt x="638" y="3918"/>
                        <a:pt x="1421" y="3918"/>
                      </a:cubicBezTo>
                      <a:lnTo>
                        <a:pt x="2140" y="3918"/>
                      </a:lnTo>
                      <a:lnTo>
                        <a:pt x="2140" y="4472"/>
                      </a:lnTo>
                      <a:lnTo>
                        <a:pt x="1315" y="4472"/>
                      </a:lnTo>
                      <a:cubicBezTo>
                        <a:pt x="1245" y="4345"/>
                        <a:pt x="1109" y="4259"/>
                        <a:pt x="954" y="4259"/>
                      </a:cubicBezTo>
                      <a:cubicBezTo>
                        <a:pt x="726" y="4259"/>
                        <a:pt x="540" y="4444"/>
                        <a:pt x="540" y="4672"/>
                      </a:cubicBezTo>
                      <a:cubicBezTo>
                        <a:pt x="540" y="4900"/>
                        <a:pt x="726" y="5086"/>
                        <a:pt x="954" y="5086"/>
                      </a:cubicBezTo>
                      <a:cubicBezTo>
                        <a:pt x="1109" y="5086"/>
                        <a:pt x="1245" y="4999"/>
                        <a:pt x="1315" y="4872"/>
                      </a:cubicBezTo>
                      <a:lnTo>
                        <a:pt x="2340" y="4872"/>
                      </a:lnTo>
                      <a:cubicBezTo>
                        <a:pt x="2451" y="4872"/>
                        <a:pt x="2540" y="4783"/>
                        <a:pt x="2540" y="4672"/>
                      </a:cubicBezTo>
                      <a:lnTo>
                        <a:pt x="2540" y="3918"/>
                      </a:lnTo>
                      <a:lnTo>
                        <a:pt x="2667" y="3918"/>
                      </a:lnTo>
                      <a:lnTo>
                        <a:pt x="2667" y="5117"/>
                      </a:lnTo>
                      <a:cubicBezTo>
                        <a:pt x="2540" y="5188"/>
                        <a:pt x="2454" y="5323"/>
                        <a:pt x="2454" y="5479"/>
                      </a:cubicBezTo>
                      <a:cubicBezTo>
                        <a:pt x="2454" y="5707"/>
                        <a:pt x="2639" y="5892"/>
                        <a:pt x="2867" y="5892"/>
                      </a:cubicBezTo>
                      <a:cubicBezTo>
                        <a:pt x="3095" y="5892"/>
                        <a:pt x="3280" y="5707"/>
                        <a:pt x="3280" y="5479"/>
                      </a:cubicBezTo>
                      <a:cubicBezTo>
                        <a:pt x="3280" y="5323"/>
                        <a:pt x="3194" y="5188"/>
                        <a:pt x="3067" y="5117"/>
                      </a:cubicBezTo>
                      <a:lnTo>
                        <a:pt x="3067" y="3918"/>
                      </a:lnTo>
                      <a:lnTo>
                        <a:pt x="3194" y="3918"/>
                      </a:lnTo>
                      <a:lnTo>
                        <a:pt x="3194" y="4691"/>
                      </a:lnTo>
                      <a:cubicBezTo>
                        <a:pt x="3194" y="4802"/>
                        <a:pt x="3283" y="4891"/>
                        <a:pt x="3394" y="4891"/>
                      </a:cubicBezTo>
                      <a:lnTo>
                        <a:pt x="4430" y="4891"/>
                      </a:lnTo>
                      <a:cubicBezTo>
                        <a:pt x="4503" y="5008"/>
                        <a:pt x="4633" y="5085"/>
                        <a:pt x="4780" y="5085"/>
                      </a:cubicBezTo>
                      <a:cubicBezTo>
                        <a:pt x="5008" y="5085"/>
                        <a:pt x="5194" y="4900"/>
                        <a:pt x="5194" y="4672"/>
                      </a:cubicBezTo>
                      <a:cubicBezTo>
                        <a:pt x="5194" y="4444"/>
                        <a:pt x="5008" y="4259"/>
                        <a:pt x="4780" y="4259"/>
                      </a:cubicBezTo>
                      <a:cubicBezTo>
                        <a:pt x="4617" y="4259"/>
                        <a:pt x="4476" y="4354"/>
                        <a:pt x="4409" y="4491"/>
                      </a:cubicBezTo>
                      <a:lnTo>
                        <a:pt x="3594" y="4491"/>
                      </a:lnTo>
                      <a:lnTo>
                        <a:pt x="3594" y="3918"/>
                      </a:lnTo>
                      <a:lnTo>
                        <a:pt x="4313" y="3918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12700">
                  <a:miter lim="400000"/>
                </a:ln>
              </p:spPr>
              <p:txBody>
                <a:bodyPr lIns="19045" tIns="19045" rIns="19045" bIns="19045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228532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 sz="3000" cap="none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</a:defRPr>
                  </a:pPr>
                  <a:endParaRPr sz="15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endParaRPr>
                </a:p>
              </p:txBody>
            </p:sp>
          </p:grpSp>
          <p:grpSp>
            <p:nvGrpSpPr>
              <p:cNvPr id="28" name="组合 27">
                <a:extLst>
                  <a:ext uri="{FF2B5EF4-FFF2-40B4-BE49-F238E27FC236}">
                    <a16:creationId xmlns:a16="http://schemas.microsoft.com/office/drawing/2014/main" id="{E5D2EB80-8641-4EF8-81D2-AFB6A08E6927}"/>
                  </a:ext>
                </a:extLst>
              </p:cNvPr>
              <p:cNvGrpSpPr/>
              <p:nvPr/>
            </p:nvGrpSpPr>
            <p:grpSpPr>
              <a:xfrm>
                <a:off x="686345" y="4959840"/>
                <a:ext cx="1580392" cy="1138111"/>
                <a:chOff x="735360" y="4366332"/>
                <a:chExt cx="2030888" cy="1138111"/>
              </a:xfrm>
            </p:grpSpPr>
            <p:sp>
              <p:nvSpPr>
                <p:cNvPr id="29" name="文本框 28">
                  <a:extLst>
                    <a:ext uri="{FF2B5EF4-FFF2-40B4-BE49-F238E27FC236}">
                      <a16:creationId xmlns:a16="http://schemas.microsoft.com/office/drawing/2014/main" id="{6F5D94BC-A45B-4CD7-906E-BA97D740395F}"/>
                    </a:ext>
                  </a:extLst>
                </p:cNvPr>
                <p:cNvSpPr txBox="1"/>
                <p:nvPr/>
              </p:nvSpPr>
              <p:spPr bwMode="auto">
                <a:xfrm>
                  <a:off x="735360" y="4366332"/>
                  <a:ext cx="2030888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 algn="ctr"/>
                  <a:r>
                    <a:rPr lang="en-US" altLang="zh-CN" b="1" dirty="0"/>
                    <a:t>…</a:t>
                  </a:r>
                  <a:r>
                    <a:rPr lang="zh-CN" altLang="en-US" b="1" dirty="0"/>
                    <a:t>计划</a:t>
                  </a:r>
                </a:p>
              </p:txBody>
            </p:sp>
            <p:sp>
              <p:nvSpPr>
                <p:cNvPr id="30" name="文本框 29">
                  <a:extLst>
                    <a:ext uri="{FF2B5EF4-FFF2-40B4-BE49-F238E27FC236}">
                      <a16:creationId xmlns:a16="http://schemas.microsoft.com/office/drawing/2014/main" id="{E84DB6F2-504E-4524-BE6A-7A962D7D5603}"/>
                    </a:ext>
                  </a:extLst>
                </p:cNvPr>
                <p:cNvSpPr txBox="1"/>
                <p:nvPr/>
              </p:nvSpPr>
              <p:spPr>
                <a:xfrm>
                  <a:off x="735360" y="4808137"/>
                  <a:ext cx="2030888" cy="696306"/>
                </a:xfrm>
                <a:prstGeom prst="rect">
                  <a:avLst/>
                </a:prstGeom>
              </p:spPr>
              <p:txBody>
                <a:bodyPr wrap="square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lnSpc>
                      <a:spcPct val="150000"/>
                    </a:lnSpc>
                    <a:spcBef>
                      <a:spcPct val="0"/>
                    </a:spcBef>
                    <a:buNone/>
                  </a:pPr>
                  <a:r>
                    <a:rPr lang="en-US" altLang="zh-CN" sz="1100" dirty="0"/>
                    <a:t>Supporting text here. </a:t>
                  </a:r>
                </a:p>
                <a:p>
                  <a:pPr marL="0" indent="0" algn="ctr">
                    <a:lnSpc>
                      <a:spcPct val="150000"/>
                    </a:lnSpc>
                    <a:spcBef>
                      <a:spcPct val="0"/>
                    </a:spcBef>
                    <a:buNone/>
                  </a:pPr>
                  <a:r>
                    <a:rPr lang="en-US" altLang="zh-CN" sz="1100" dirty="0"/>
                    <a:t>……</a:t>
                  </a:r>
                  <a:endParaRPr lang="zh-CN" altLang="en-US" sz="1100" dirty="0"/>
                </a:p>
              </p:txBody>
            </p:sp>
          </p:grp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E98268C4-B2EE-4250-A2A1-BBF339404B40}"/>
                </a:ext>
              </a:extLst>
            </p:cNvPr>
            <p:cNvGrpSpPr/>
            <p:nvPr/>
          </p:nvGrpSpPr>
          <p:grpSpPr>
            <a:xfrm>
              <a:off x="8096425" y="4190166"/>
              <a:ext cx="1580392" cy="1907785"/>
              <a:chOff x="686345" y="4190166"/>
              <a:chExt cx="1580392" cy="1907785"/>
            </a:xfrm>
          </p:grpSpPr>
          <p:grpSp>
            <p:nvGrpSpPr>
              <p:cNvPr id="21" name="组合 20">
                <a:extLst>
                  <a:ext uri="{FF2B5EF4-FFF2-40B4-BE49-F238E27FC236}">
                    <a16:creationId xmlns:a16="http://schemas.microsoft.com/office/drawing/2014/main" id="{3107DA6B-060D-47D6-87BE-A91FD5FF07DA}"/>
                  </a:ext>
                </a:extLst>
              </p:cNvPr>
              <p:cNvGrpSpPr/>
              <p:nvPr/>
            </p:nvGrpSpPr>
            <p:grpSpPr>
              <a:xfrm>
                <a:off x="1134723" y="4190166"/>
                <a:ext cx="691418" cy="692506"/>
                <a:chOff x="1305039" y="3884262"/>
                <a:chExt cx="899312" cy="900726"/>
              </a:xfrm>
            </p:grpSpPr>
            <p:sp>
              <p:nvSpPr>
                <p:cNvPr id="25" name="椭圆 24">
                  <a:extLst>
                    <a:ext uri="{FF2B5EF4-FFF2-40B4-BE49-F238E27FC236}">
                      <a16:creationId xmlns:a16="http://schemas.microsoft.com/office/drawing/2014/main" id="{9F6CEC7B-201D-427E-BD6E-46ADF10FF345}"/>
                    </a:ext>
                  </a:extLst>
                </p:cNvPr>
                <p:cNvSpPr/>
                <p:nvPr/>
              </p:nvSpPr>
              <p:spPr bwMode="auto">
                <a:xfrm>
                  <a:off x="1305039" y="3884262"/>
                  <a:ext cx="899312" cy="900726"/>
                </a:xfrm>
                <a:prstGeom prst="ellipse">
                  <a:avLst/>
                </a:prstGeom>
                <a:solidFill>
                  <a:schemeClr val="bg1"/>
                </a:solidFill>
                <a:ln w="57150">
                  <a:solidFill>
                    <a:schemeClr val="tx2">
                      <a:lumMod val="20000"/>
                      <a:lumOff val="80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id-ID"/>
                </a:p>
              </p:txBody>
            </p:sp>
            <p:sp>
              <p:nvSpPr>
                <p:cNvPr id="26" name="任意多边形: 形状 25">
                  <a:extLst>
                    <a:ext uri="{FF2B5EF4-FFF2-40B4-BE49-F238E27FC236}">
                      <a16:creationId xmlns:a16="http://schemas.microsoft.com/office/drawing/2014/main" id="{EE301932-C23B-47AE-A88E-DB7EC364AA2E}"/>
                    </a:ext>
                  </a:extLst>
                </p:cNvPr>
                <p:cNvSpPr/>
                <p:nvPr/>
              </p:nvSpPr>
              <p:spPr>
                <a:xfrm>
                  <a:off x="1573594" y="4148796"/>
                  <a:ext cx="362202" cy="371658"/>
                </a:xfrm>
                <a:custGeom>
                  <a:avLst/>
                  <a:gdLst>
                    <a:gd name="T0" fmla="*/ 4313 w 5734"/>
                    <a:gd name="T1" fmla="*/ 3918 h 5892"/>
                    <a:gd name="T2" fmla="*/ 5734 w 5734"/>
                    <a:gd name="T3" fmla="*/ 2497 h 5892"/>
                    <a:gd name="T4" fmla="*/ 4313 w 5734"/>
                    <a:gd name="T5" fmla="*/ 1076 h 5892"/>
                    <a:gd name="T6" fmla="*/ 4149 w 5734"/>
                    <a:gd name="T7" fmla="*/ 1085 h 5892"/>
                    <a:gd name="T8" fmla="*/ 3733 w 5734"/>
                    <a:gd name="T9" fmla="*/ 378 h 5892"/>
                    <a:gd name="T10" fmla="*/ 2768 w 5734"/>
                    <a:gd name="T11" fmla="*/ 0 h 5892"/>
                    <a:gd name="T12" fmla="*/ 1389 w 5734"/>
                    <a:gd name="T13" fmla="*/ 1076 h 5892"/>
                    <a:gd name="T14" fmla="*/ 0 w 5734"/>
                    <a:gd name="T15" fmla="*/ 2497 h 5892"/>
                    <a:gd name="T16" fmla="*/ 1421 w 5734"/>
                    <a:gd name="T17" fmla="*/ 3918 h 5892"/>
                    <a:gd name="T18" fmla="*/ 2140 w 5734"/>
                    <a:gd name="T19" fmla="*/ 3918 h 5892"/>
                    <a:gd name="T20" fmla="*/ 2140 w 5734"/>
                    <a:gd name="T21" fmla="*/ 4472 h 5892"/>
                    <a:gd name="T22" fmla="*/ 1315 w 5734"/>
                    <a:gd name="T23" fmla="*/ 4472 h 5892"/>
                    <a:gd name="T24" fmla="*/ 954 w 5734"/>
                    <a:gd name="T25" fmla="*/ 4259 h 5892"/>
                    <a:gd name="T26" fmla="*/ 540 w 5734"/>
                    <a:gd name="T27" fmla="*/ 4672 h 5892"/>
                    <a:gd name="T28" fmla="*/ 954 w 5734"/>
                    <a:gd name="T29" fmla="*/ 5086 h 5892"/>
                    <a:gd name="T30" fmla="*/ 1315 w 5734"/>
                    <a:gd name="T31" fmla="*/ 4872 h 5892"/>
                    <a:gd name="T32" fmla="*/ 2340 w 5734"/>
                    <a:gd name="T33" fmla="*/ 4872 h 5892"/>
                    <a:gd name="T34" fmla="*/ 2540 w 5734"/>
                    <a:gd name="T35" fmla="*/ 4672 h 5892"/>
                    <a:gd name="T36" fmla="*/ 2540 w 5734"/>
                    <a:gd name="T37" fmla="*/ 3918 h 5892"/>
                    <a:gd name="T38" fmla="*/ 2667 w 5734"/>
                    <a:gd name="T39" fmla="*/ 3918 h 5892"/>
                    <a:gd name="T40" fmla="*/ 2667 w 5734"/>
                    <a:gd name="T41" fmla="*/ 5117 h 5892"/>
                    <a:gd name="T42" fmla="*/ 2454 w 5734"/>
                    <a:gd name="T43" fmla="*/ 5479 h 5892"/>
                    <a:gd name="T44" fmla="*/ 2867 w 5734"/>
                    <a:gd name="T45" fmla="*/ 5892 h 5892"/>
                    <a:gd name="T46" fmla="*/ 3280 w 5734"/>
                    <a:gd name="T47" fmla="*/ 5479 h 5892"/>
                    <a:gd name="T48" fmla="*/ 3067 w 5734"/>
                    <a:gd name="T49" fmla="*/ 5117 h 5892"/>
                    <a:gd name="T50" fmla="*/ 3067 w 5734"/>
                    <a:gd name="T51" fmla="*/ 3918 h 5892"/>
                    <a:gd name="T52" fmla="*/ 3194 w 5734"/>
                    <a:gd name="T53" fmla="*/ 3918 h 5892"/>
                    <a:gd name="T54" fmla="*/ 3194 w 5734"/>
                    <a:gd name="T55" fmla="*/ 4691 h 5892"/>
                    <a:gd name="T56" fmla="*/ 3394 w 5734"/>
                    <a:gd name="T57" fmla="*/ 4891 h 5892"/>
                    <a:gd name="T58" fmla="*/ 4430 w 5734"/>
                    <a:gd name="T59" fmla="*/ 4891 h 5892"/>
                    <a:gd name="T60" fmla="*/ 4780 w 5734"/>
                    <a:gd name="T61" fmla="*/ 5085 h 5892"/>
                    <a:gd name="T62" fmla="*/ 5194 w 5734"/>
                    <a:gd name="T63" fmla="*/ 4672 h 5892"/>
                    <a:gd name="T64" fmla="*/ 4780 w 5734"/>
                    <a:gd name="T65" fmla="*/ 4259 h 5892"/>
                    <a:gd name="T66" fmla="*/ 4409 w 5734"/>
                    <a:gd name="T67" fmla="*/ 4491 h 5892"/>
                    <a:gd name="T68" fmla="*/ 3594 w 5734"/>
                    <a:gd name="T69" fmla="*/ 4491 h 5892"/>
                    <a:gd name="T70" fmla="*/ 3594 w 5734"/>
                    <a:gd name="T71" fmla="*/ 3918 h 5892"/>
                    <a:gd name="T72" fmla="*/ 4313 w 5734"/>
                    <a:gd name="T73" fmla="*/ 3918 h 58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734" h="5892">
                      <a:moveTo>
                        <a:pt x="4313" y="3918"/>
                      </a:moveTo>
                      <a:cubicBezTo>
                        <a:pt x="5096" y="3918"/>
                        <a:pt x="5734" y="3280"/>
                        <a:pt x="5734" y="2497"/>
                      </a:cubicBezTo>
                      <a:cubicBezTo>
                        <a:pt x="5734" y="1713"/>
                        <a:pt x="5096" y="1076"/>
                        <a:pt x="4313" y="1076"/>
                      </a:cubicBezTo>
                      <a:cubicBezTo>
                        <a:pt x="4258" y="1076"/>
                        <a:pt x="4203" y="1079"/>
                        <a:pt x="4149" y="1085"/>
                      </a:cubicBezTo>
                      <a:cubicBezTo>
                        <a:pt x="4084" y="816"/>
                        <a:pt x="3940" y="570"/>
                        <a:pt x="3733" y="378"/>
                      </a:cubicBezTo>
                      <a:cubicBezTo>
                        <a:pt x="3470" y="134"/>
                        <a:pt x="3127" y="0"/>
                        <a:pt x="2768" y="0"/>
                      </a:cubicBezTo>
                      <a:cubicBezTo>
                        <a:pt x="2107" y="0"/>
                        <a:pt x="1544" y="451"/>
                        <a:pt x="1389" y="1076"/>
                      </a:cubicBezTo>
                      <a:cubicBezTo>
                        <a:pt x="620" y="1093"/>
                        <a:pt x="0" y="1724"/>
                        <a:pt x="0" y="2497"/>
                      </a:cubicBezTo>
                      <a:cubicBezTo>
                        <a:pt x="0" y="3281"/>
                        <a:pt x="638" y="3918"/>
                        <a:pt x="1421" y="3918"/>
                      </a:cubicBezTo>
                      <a:lnTo>
                        <a:pt x="2140" y="3918"/>
                      </a:lnTo>
                      <a:lnTo>
                        <a:pt x="2140" y="4472"/>
                      </a:lnTo>
                      <a:lnTo>
                        <a:pt x="1315" y="4472"/>
                      </a:lnTo>
                      <a:cubicBezTo>
                        <a:pt x="1245" y="4345"/>
                        <a:pt x="1109" y="4259"/>
                        <a:pt x="954" y="4259"/>
                      </a:cubicBezTo>
                      <a:cubicBezTo>
                        <a:pt x="726" y="4259"/>
                        <a:pt x="540" y="4444"/>
                        <a:pt x="540" y="4672"/>
                      </a:cubicBezTo>
                      <a:cubicBezTo>
                        <a:pt x="540" y="4900"/>
                        <a:pt x="726" y="5086"/>
                        <a:pt x="954" y="5086"/>
                      </a:cubicBezTo>
                      <a:cubicBezTo>
                        <a:pt x="1109" y="5086"/>
                        <a:pt x="1245" y="4999"/>
                        <a:pt x="1315" y="4872"/>
                      </a:cubicBezTo>
                      <a:lnTo>
                        <a:pt x="2340" y="4872"/>
                      </a:lnTo>
                      <a:cubicBezTo>
                        <a:pt x="2451" y="4872"/>
                        <a:pt x="2540" y="4783"/>
                        <a:pt x="2540" y="4672"/>
                      </a:cubicBezTo>
                      <a:lnTo>
                        <a:pt x="2540" y="3918"/>
                      </a:lnTo>
                      <a:lnTo>
                        <a:pt x="2667" y="3918"/>
                      </a:lnTo>
                      <a:lnTo>
                        <a:pt x="2667" y="5117"/>
                      </a:lnTo>
                      <a:cubicBezTo>
                        <a:pt x="2540" y="5188"/>
                        <a:pt x="2454" y="5323"/>
                        <a:pt x="2454" y="5479"/>
                      </a:cubicBezTo>
                      <a:cubicBezTo>
                        <a:pt x="2454" y="5707"/>
                        <a:pt x="2639" y="5892"/>
                        <a:pt x="2867" y="5892"/>
                      </a:cubicBezTo>
                      <a:cubicBezTo>
                        <a:pt x="3095" y="5892"/>
                        <a:pt x="3280" y="5707"/>
                        <a:pt x="3280" y="5479"/>
                      </a:cubicBezTo>
                      <a:cubicBezTo>
                        <a:pt x="3280" y="5323"/>
                        <a:pt x="3194" y="5188"/>
                        <a:pt x="3067" y="5117"/>
                      </a:cubicBezTo>
                      <a:lnTo>
                        <a:pt x="3067" y="3918"/>
                      </a:lnTo>
                      <a:lnTo>
                        <a:pt x="3194" y="3918"/>
                      </a:lnTo>
                      <a:lnTo>
                        <a:pt x="3194" y="4691"/>
                      </a:lnTo>
                      <a:cubicBezTo>
                        <a:pt x="3194" y="4802"/>
                        <a:pt x="3283" y="4891"/>
                        <a:pt x="3394" y="4891"/>
                      </a:cubicBezTo>
                      <a:lnTo>
                        <a:pt x="4430" y="4891"/>
                      </a:lnTo>
                      <a:cubicBezTo>
                        <a:pt x="4503" y="5008"/>
                        <a:pt x="4633" y="5085"/>
                        <a:pt x="4780" y="5085"/>
                      </a:cubicBezTo>
                      <a:cubicBezTo>
                        <a:pt x="5008" y="5085"/>
                        <a:pt x="5194" y="4900"/>
                        <a:pt x="5194" y="4672"/>
                      </a:cubicBezTo>
                      <a:cubicBezTo>
                        <a:pt x="5194" y="4444"/>
                        <a:pt x="5008" y="4259"/>
                        <a:pt x="4780" y="4259"/>
                      </a:cubicBezTo>
                      <a:cubicBezTo>
                        <a:pt x="4617" y="4259"/>
                        <a:pt x="4476" y="4354"/>
                        <a:pt x="4409" y="4491"/>
                      </a:cubicBezTo>
                      <a:lnTo>
                        <a:pt x="3594" y="4491"/>
                      </a:lnTo>
                      <a:lnTo>
                        <a:pt x="3594" y="3918"/>
                      </a:lnTo>
                      <a:lnTo>
                        <a:pt x="4313" y="3918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12700">
                  <a:miter lim="400000"/>
                </a:ln>
              </p:spPr>
              <p:txBody>
                <a:bodyPr lIns="19045" tIns="19045" rIns="19045" bIns="19045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228532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 sz="3000" cap="none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</a:defRPr>
                  </a:pPr>
                  <a:endParaRPr sz="15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endParaRPr>
                </a:p>
              </p:txBody>
            </p:sp>
          </p:grpSp>
          <p:grpSp>
            <p:nvGrpSpPr>
              <p:cNvPr id="22" name="组合 21">
                <a:extLst>
                  <a:ext uri="{FF2B5EF4-FFF2-40B4-BE49-F238E27FC236}">
                    <a16:creationId xmlns:a16="http://schemas.microsoft.com/office/drawing/2014/main" id="{EF2FE936-0A88-4976-8A47-C3D602AE8654}"/>
                  </a:ext>
                </a:extLst>
              </p:cNvPr>
              <p:cNvGrpSpPr/>
              <p:nvPr/>
            </p:nvGrpSpPr>
            <p:grpSpPr>
              <a:xfrm>
                <a:off x="686345" y="4959840"/>
                <a:ext cx="1580392" cy="1138111"/>
                <a:chOff x="735360" y="4366332"/>
                <a:chExt cx="2030888" cy="1138111"/>
              </a:xfrm>
            </p:grpSpPr>
            <p:sp>
              <p:nvSpPr>
                <p:cNvPr id="23" name="文本框 22">
                  <a:extLst>
                    <a:ext uri="{FF2B5EF4-FFF2-40B4-BE49-F238E27FC236}">
                      <a16:creationId xmlns:a16="http://schemas.microsoft.com/office/drawing/2014/main" id="{08484105-1A70-4E81-BC99-27352062F3FD}"/>
                    </a:ext>
                  </a:extLst>
                </p:cNvPr>
                <p:cNvSpPr txBox="1"/>
                <p:nvPr/>
              </p:nvSpPr>
              <p:spPr bwMode="auto">
                <a:xfrm>
                  <a:off x="735360" y="4366332"/>
                  <a:ext cx="2030888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 algn="ctr"/>
                  <a:r>
                    <a:rPr lang="en-US" altLang="zh-CN" b="1" dirty="0"/>
                    <a:t>…</a:t>
                  </a:r>
                  <a:r>
                    <a:rPr lang="zh-CN" altLang="en-US" b="1" dirty="0"/>
                    <a:t>计划</a:t>
                  </a:r>
                </a:p>
              </p:txBody>
            </p:sp>
            <p:sp>
              <p:nvSpPr>
                <p:cNvPr id="24" name="文本框 23">
                  <a:extLst>
                    <a:ext uri="{FF2B5EF4-FFF2-40B4-BE49-F238E27FC236}">
                      <a16:creationId xmlns:a16="http://schemas.microsoft.com/office/drawing/2014/main" id="{D810BF3C-E5FB-4B58-BD8E-9DE182C34AAC}"/>
                    </a:ext>
                  </a:extLst>
                </p:cNvPr>
                <p:cNvSpPr txBox="1"/>
                <p:nvPr/>
              </p:nvSpPr>
              <p:spPr>
                <a:xfrm>
                  <a:off x="735360" y="4808137"/>
                  <a:ext cx="2030888" cy="696306"/>
                </a:xfrm>
                <a:prstGeom prst="rect">
                  <a:avLst/>
                </a:prstGeom>
              </p:spPr>
              <p:txBody>
                <a:bodyPr wrap="square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lnSpc>
                      <a:spcPct val="150000"/>
                    </a:lnSpc>
                    <a:spcBef>
                      <a:spcPct val="0"/>
                    </a:spcBef>
                    <a:buNone/>
                  </a:pPr>
                  <a:r>
                    <a:rPr lang="en-US" altLang="zh-CN" sz="1100" dirty="0"/>
                    <a:t>Supporting text here. </a:t>
                  </a:r>
                </a:p>
                <a:p>
                  <a:pPr marL="0" indent="0" algn="ctr">
                    <a:lnSpc>
                      <a:spcPct val="150000"/>
                    </a:lnSpc>
                    <a:spcBef>
                      <a:spcPct val="0"/>
                    </a:spcBef>
                    <a:buNone/>
                  </a:pPr>
                  <a:r>
                    <a:rPr lang="en-US" altLang="zh-CN" sz="1100" dirty="0"/>
                    <a:t>……</a:t>
                  </a:r>
                  <a:endParaRPr lang="zh-CN" altLang="en-US" sz="1100" dirty="0"/>
                </a:p>
              </p:txBody>
            </p:sp>
          </p:grpSp>
        </p:grp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5A58EC78-D1AC-4C80-AFB7-260B697614B8}"/>
                </a:ext>
              </a:extLst>
            </p:cNvPr>
            <p:cNvGrpSpPr/>
            <p:nvPr/>
          </p:nvGrpSpPr>
          <p:grpSpPr>
            <a:xfrm>
              <a:off x="9948945" y="4190166"/>
              <a:ext cx="1580392" cy="1907785"/>
              <a:chOff x="686345" y="4190166"/>
              <a:chExt cx="1580392" cy="1907785"/>
            </a:xfrm>
          </p:grpSpPr>
          <p:grpSp>
            <p:nvGrpSpPr>
              <p:cNvPr id="15" name="组合 14">
                <a:extLst>
                  <a:ext uri="{FF2B5EF4-FFF2-40B4-BE49-F238E27FC236}">
                    <a16:creationId xmlns:a16="http://schemas.microsoft.com/office/drawing/2014/main" id="{32D022BD-CA5D-4A1C-AFF6-B137B76B51E9}"/>
                  </a:ext>
                </a:extLst>
              </p:cNvPr>
              <p:cNvGrpSpPr/>
              <p:nvPr/>
            </p:nvGrpSpPr>
            <p:grpSpPr>
              <a:xfrm>
                <a:off x="1134723" y="4190166"/>
                <a:ext cx="691418" cy="692506"/>
                <a:chOff x="1305039" y="3884262"/>
                <a:chExt cx="899312" cy="900726"/>
              </a:xfrm>
            </p:grpSpPr>
            <p:sp>
              <p:nvSpPr>
                <p:cNvPr id="19" name="椭圆 18">
                  <a:extLst>
                    <a:ext uri="{FF2B5EF4-FFF2-40B4-BE49-F238E27FC236}">
                      <a16:creationId xmlns:a16="http://schemas.microsoft.com/office/drawing/2014/main" id="{B43A182B-A4FC-4FA8-9140-9CA7C2F25EA5}"/>
                    </a:ext>
                  </a:extLst>
                </p:cNvPr>
                <p:cNvSpPr/>
                <p:nvPr/>
              </p:nvSpPr>
              <p:spPr bwMode="auto">
                <a:xfrm>
                  <a:off x="1305039" y="3884262"/>
                  <a:ext cx="899312" cy="900726"/>
                </a:xfrm>
                <a:prstGeom prst="ellipse">
                  <a:avLst/>
                </a:prstGeom>
                <a:solidFill>
                  <a:schemeClr val="bg1"/>
                </a:solidFill>
                <a:ln w="57150">
                  <a:solidFill>
                    <a:schemeClr val="tx2">
                      <a:lumMod val="20000"/>
                      <a:lumOff val="80000"/>
                    </a:schemeClr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id-ID"/>
                </a:p>
              </p:txBody>
            </p:sp>
            <p:sp>
              <p:nvSpPr>
                <p:cNvPr id="20" name="任意多边形: 形状 19">
                  <a:extLst>
                    <a:ext uri="{FF2B5EF4-FFF2-40B4-BE49-F238E27FC236}">
                      <a16:creationId xmlns:a16="http://schemas.microsoft.com/office/drawing/2014/main" id="{B34BB3FB-B1BC-4B0F-99E2-4C80377A6563}"/>
                    </a:ext>
                  </a:extLst>
                </p:cNvPr>
                <p:cNvSpPr/>
                <p:nvPr/>
              </p:nvSpPr>
              <p:spPr>
                <a:xfrm>
                  <a:off x="1573594" y="4148796"/>
                  <a:ext cx="362202" cy="371658"/>
                </a:xfrm>
                <a:custGeom>
                  <a:avLst/>
                  <a:gdLst>
                    <a:gd name="T0" fmla="*/ 4313 w 5734"/>
                    <a:gd name="T1" fmla="*/ 3918 h 5892"/>
                    <a:gd name="T2" fmla="*/ 5734 w 5734"/>
                    <a:gd name="T3" fmla="*/ 2497 h 5892"/>
                    <a:gd name="T4" fmla="*/ 4313 w 5734"/>
                    <a:gd name="T5" fmla="*/ 1076 h 5892"/>
                    <a:gd name="T6" fmla="*/ 4149 w 5734"/>
                    <a:gd name="T7" fmla="*/ 1085 h 5892"/>
                    <a:gd name="T8" fmla="*/ 3733 w 5734"/>
                    <a:gd name="T9" fmla="*/ 378 h 5892"/>
                    <a:gd name="T10" fmla="*/ 2768 w 5734"/>
                    <a:gd name="T11" fmla="*/ 0 h 5892"/>
                    <a:gd name="T12" fmla="*/ 1389 w 5734"/>
                    <a:gd name="T13" fmla="*/ 1076 h 5892"/>
                    <a:gd name="T14" fmla="*/ 0 w 5734"/>
                    <a:gd name="T15" fmla="*/ 2497 h 5892"/>
                    <a:gd name="T16" fmla="*/ 1421 w 5734"/>
                    <a:gd name="T17" fmla="*/ 3918 h 5892"/>
                    <a:gd name="T18" fmla="*/ 2140 w 5734"/>
                    <a:gd name="T19" fmla="*/ 3918 h 5892"/>
                    <a:gd name="T20" fmla="*/ 2140 w 5734"/>
                    <a:gd name="T21" fmla="*/ 4472 h 5892"/>
                    <a:gd name="T22" fmla="*/ 1315 w 5734"/>
                    <a:gd name="T23" fmla="*/ 4472 h 5892"/>
                    <a:gd name="T24" fmla="*/ 954 w 5734"/>
                    <a:gd name="T25" fmla="*/ 4259 h 5892"/>
                    <a:gd name="T26" fmla="*/ 540 w 5734"/>
                    <a:gd name="T27" fmla="*/ 4672 h 5892"/>
                    <a:gd name="T28" fmla="*/ 954 w 5734"/>
                    <a:gd name="T29" fmla="*/ 5086 h 5892"/>
                    <a:gd name="T30" fmla="*/ 1315 w 5734"/>
                    <a:gd name="T31" fmla="*/ 4872 h 5892"/>
                    <a:gd name="T32" fmla="*/ 2340 w 5734"/>
                    <a:gd name="T33" fmla="*/ 4872 h 5892"/>
                    <a:gd name="T34" fmla="*/ 2540 w 5734"/>
                    <a:gd name="T35" fmla="*/ 4672 h 5892"/>
                    <a:gd name="T36" fmla="*/ 2540 w 5734"/>
                    <a:gd name="T37" fmla="*/ 3918 h 5892"/>
                    <a:gd name="T38" fmla="*/ 2667 w 5734"/>
                    <a:gd name="T39" fmla="*/ 3918 h 5892"/>
                    <a:gd name="T40" fmla="*/ 2667 w 5734"/>
                    <a:gd name="T41" fmla="*/ 5117 h 5892"/>
                    <a:gd name="T42" fmla="*/ 2454 w 5734"/>
                    <a:gd name="T43" fmla="*/ 5479 h 5892"/>
                    <a:gd name="T44" fmla="*/ 2867 w 5734"/>
                    <a:gd name="T45" fmla="*/ 5892 h 5892"/>
                    <a:gd name="T46" fmla="*/ 3280 w 5734"/>
                    <a:gd name="T47" fmla="*/ 5479 h 5892"/>
                    <a:gd name="T48" fmla="*/ 3067 w 5734"/>
                    <a:gd name="T49" fmla="*/ 5117 h 5892"/>
                    <a:gd name="T50" fmla="*/ 3067 w 5734"/>
                    <a:gd name="T51" fmla="*/ 3918 h 5892"/>
                    <a:gd name="T52" fmla="*/ 3194 w 5734"/>
                    <a:gd name="T53" fmla="*/ 3918 h 5892"/>
                    <a:gd name="T54" fmla="*/ 3194 w 5734"/>
                    <a:gd name="T55" fmla="*/ 4691 h 5892"/>
                    <a:gd name="T56" fmla="*/ 3394 w 5734"/>
                    <a:gd name="T57" fmla="*/ 4891 h 5892"/>
                    <a:gd name="T58" fmla="*/ 4430 w 5734"/>
                    <a:gd name="T59" fmla="*/ 4891 h 5892"/>
                    <a:gd name="T60" fmla="*/ 4780 w 5734"/>
                    <a:gd name="T61" fmla="*/ 5085 h 5892"/>
                    <a:gd name="T62" fmla="*/ 5194 w 5734"/>
                    <a:gd name="T63" fmla="*/ 4672 h 5892"/>
                    <a:gd name="T64" fmla="*/ 4780 w 5734"/>
                    <a:gd name="T65" fmla="*/ 4259 h 5892"/>
                    <a:gd name="T66" fmla="*/ 4409 w 5734"/>
                    <a:gd name="T67" fmla="*/ 4491 h 5892"/>
                    <a:gd name="T68" fmla="*/ 3594 w 5734"/>
                    <a:gd name="T69" fmla="*/ 4491 h 5892"/>
                    <a:gd name="T70" fmla="*/ 3594 w 5734"/>
                    <a:gd name="T71" fmla="*/ 3918 h 5892"/>
                    <a:gd name="T72" fmla="*/ 4313 w 5734"/>
                    <a:gd name="T73" fmla="*/ 3918 h 58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734" h="5892">
                      <a:moveTo>
                        <a:pt x="4313" y="3918"/>
                      </a:moveTo>
                      <a:cubicBezTo>
                        <a:pt x="5096" y="3918"/>
                        <a:pt x="5734" y="3280"/>
                        <a:pt x="5734" y="2497"/>
                      </a:cubicBezTo>
                      <a:cubicBezTo>
                        <a:pt x="5734" y="1713"/>
                        <a:pt x="5096" y="1076"/>
                        <a:pt x="4313" y="1076"/>
                      </a:cubicBezTo>
                      <a:cubicBezTo>
                        <a:pt x="4258" y="1076"/>
                        <a:pt x="4203" y="1079"/>
                        <a:pt x="4149" y="1085"/>
                      </a:cubicBezTo>
                      <a:cubicBezTo>
                        <a:pt x="4084" y="816"/>
                        <a:pt x="3940" y="570"/>
                        <a:pt x="3733" y="378"/>
                      </a:cubicBezTo>
                      <a:cubicBezTo>
                        <a:pt x="3470" y="134"/>
                        <a:pt x="3127" y="0"/>
                        <a:pt x="2768" y="0"/>
                      </a:cubicBezTo>
                      <a:cubicBezTo>
                        <a:pt x="2107" y="0"/>
                        <a:pt x="1544" y="451"/>
                        <a:pt x="1389" y="1076"/>
                      </a:cubicBezTo>
                      <a:cubicBezTo>
                        <a:pt x="620" y="1093"/>
                        <a:pt x="0" y="1724"/>
                        <a:pt x="0" y="2497"/>
                      </a:cubicBezTo>
                      <a:cubicBezTo>
                        <a:pt x="0" y="3281"/>
                        <a:pt x="638" y="3918"/>
                        <a:pt x="1421" y="3918"/>
                      </a:cubicBezTo>
                      <a:lnTo>
                        <a:pt x="2140" y="3918"/>
                      </a:lnTo>
                      <a:lnTo>
                        <a:pt x="2140" y="4472"/>
                      </a:lnTo>
                      <a:lnTo>
                        <a:pt x="1315" y="4472"/>
                      </a:lnTo>
                      <a:cubicBezTo>
                        <a:pt x="1245" y="4345"/>
                        <a:pt x="1109" y="4259"/>
                        <a:pt x="954" y="4259"/>
                      </a:cubicBezTo>
                      <a:cubicBezTo>
                        <a:pt x="726" y="4259"/>
                        <a:pt x="540" y="4444"/>
                        <a:pt x="540" y="4672"/>
                      </a:cubicBezTo>
                      <a:cubicBezTo>
                        <a:pt x="540" y="4900"/>
                        <a:pt x="726" y="5086"/>
                        <a:pt x="954" y="5086"/>
                      </a:cubicBezTo>
                      <a:cubicBezTo>
                        <a:pt x="1109" y="5086"/>
                        <a:pt x="1245" y="4999"/>
                        <a:pt x="1315" y="4872"/>
                      </a:cubicBezTo>
                      <a:lnTo>
                        <a:pt x="2340" y="4872"/>
                      </a:lnTo>
                      <a:cubicBezTo>
                        <a:pt x="2451" y="4872"/>
                        <a:pt x="2540" y="4783"/>
                        <a:pt x="2540" y="4672"/>
                      </a:cubicBezTo>
                      <a:lnTo>
                        <a:pt x="2540" y="3918"/>
                      </a:lnTo>
                      <a:lnTo>
                        <a:pt x="2667" y="3918"/>
                      </a:lnTo>
                      <a:lnTo>
                        <a:pt x="2667" y="5117"/>
                      </a:lnTo>
                      <a:cubicBezTo>
                        <a:pt x="2540" y="5188"/>
                        <a:pt x="2454" y="5323"/>
                        <a:pt x="2454" y="5479"/>
                      </a:cubicBezTo>
                      <a:cubicBezTo>
                        <a:pt x="2454" y="5707"/>
                        <a:pt x="2639" y="5892"/>
                        <a:pt x="2867" y="5892"/>
                      </a:cubicBezTo>
                      <a:cubicBezTo>
                        <a:pt x="3095" y="5892"/>
                        <a:pt x="3280" y="5707"/>
                        <a:pt x="3280" y="5479"/>
                      </a:cubicBezTo>
                      <a:cubicBezTo>
                        <a:pt x="3280" y="5323"/>
                        <a:pt x="3194" y="5188"/>
                        <a:pt x="3067" y="5117"/>
                      </a:cubicBezTo>
                      <a:lnTo>
                        <a:pt x="3067" y="3918"/>
                      </a:lnTo>
                      <a:lnTo>
                        <a:pt x="3194" y="3918"/>
                      </a:lnTo>
                      <a:lnTo>
                        <a:pt x="3194" y="4691"/>
                      </a:lnTo>
                      <a:cubicBezTo>
                        <a:pt x="3194" y="4802"/>
                        <a:pt x="3283" y="4891"/>
                        <a:pt x="3394" y="4891"/>
                      </a:cubicBezTo>
                      <a:lnTo>
                        <a:pt x="4430" y="4891"/>
                      </a:lnTo>
                      <a:cubicBezTo>
                        <a:pt x="4503" y="5008"/>
                        <a:pt x="4633" y="5085"/>
                        <a:pt x="4780" y="5085"/>
                      </a:cubicBezTo>
                      <a:cubicBezTo>
                        <a:pt x="5008" y="5085"/>
                        <a:pt x="5194" y="4900"/>
                        <a:pt x="5194" y="4672"/>
                      </a:cubicBezTo>
                      <a:cubicBezTo>
                        <a:pt x="5194" y="4444"/>
                        <a:pt x="5008" y="4259"/>
                        <a:pt x="4780" y="4259"/>
                      </a:cubicBezTo>
                      <a:cubicBezTo>
                        <a:pt x="4617" y="4259"/>
                        <a:pt x="4476" y="4354"/>
                        <a:pt x="4409" y="4491"/>
                      </a:cubicBezTo>
                      <a:lnTo>
                        <a:pt x="3594" y="4491"/>
                      </a:lnTo>
                      <a:lnTo>
                        <a:pt x="3594" y="3918"/>
                      </a:lnTo>
                      <a:lnTo>
                        <a:pt x="4313" y="3918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12700">
                  <a:miter lim="400000"/>
                </a:ln>
              </p:spPr>
              <p:txBody>
                <a:bodyPr lIns="19045" tIns="19045" rIns="19045" bIns="19045" anchor="ctr"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228532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 sz="3000" cap="none">
                      <a:solidFill>
                        <a:srgbClr val="FFFFFF"/>
                      </a:solidFill>
                      <a:effectLst>
                        <a:outerShdw blurRad="38100" dist="12700" dir="5400000" rotWithShape="0">
                          <a:srgbClr val="000000">
                            <a:alpha val="50000"/>
                          </a:srgbClr>
                        </a:outerShdw>
                      </a:effectLst>
                    </a:defRPr>
                  </a:pPr>
                  <a:endParaRPr sz="15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</a:endParaRPr>
                </a:p>
              </p:txBody>
            </p:sp>
          </p:grpSp>
          <p:grpSp>
            <p:nvGrpSpPr>
              <p:cNvPr id="16" name="组合 15">
                <a:extLst>
                  <a:ext uri="{FF2B5EF4-FFF2-40B4-BE49-F238E27FC236}">
                    <a16:creationId xmlns:a16="http://schemas.microsoft.com/office/drawing/2014/main" id="{9C39B95A-E7CF-4645-B8AA-5F37A6EA6450}"/>
                  </a:ext>
                </a:extLst>
              </p:cNvPr>
              <p:cNvGrpSpPr/>
              <p:nvPr/>
            </p:nvGrpSpPr>
            <p:grpSpPr>
              <a:xfrm>
                <a:off x="686345" y="4959840"/>
                <a:ext cx="1580392" cy="1138111"/>
                <a:chOff x="735360" y="4366332"/>
                <a:chExt cx="2030888" cy="1138111"/>
              </a:xfrm>
            </p:grpSpPr>
            <p:sp>
              <p:nvSpPr>
                <p:cNvPr id="17" name="文本框 16">
                  <a:extLst>
                    <a:ext uri="{FF2B5EF4-FFF2-40B4-BE49-F238E27FC236}">
                      <a16:creationId xmlns:a16="http://schemas.microsoft.com/office/drawing/2014/main" id="{5BE222B3-1901-45A4-B890-38465C32AF03}"/>
                    </a:ext>
                  </a:extLst>
                </p:cNvPr>
                <p:cNvSpPr txBox="1"/>
                <p:nvPr/>
              </p:nvSpPr>
              <p:spPr bwMode="auto">
                <a:xfrm>
                  <a:off x="735360" y="4366332"/>
                  <a:ext cx="2030888" cy="4418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lvl="0" algn="ctr"/>
                  <a:r>
                    <a:rPr lang="en-US" altLang="zh-CN" b="1" dirty="0"/>
                    <a:t>…</a:t>
                  </a:r>
                  <a:r>
                    <a:rPr lang="zh-CN" altLang="en-US" b="1" dirty="0"/>
                    <a:t>计划</a:t>
                  </a:r>
                </a:p>
              </p:txBody>
            </p:sp>
            <p:sp>
              <p:nvSpPr>
                <p:cNvPr id="18" name="文本框 17">
                  <a:extLst>
                    <a:ext uri="{FF2B5EF4-FFF2-40B4-BE49-F238E27FC236}">
                      <a16:creationId xmlns:a16="http://schemas.microsoft.com/office/drawing/2014/main" id="{AF8E0223-EC24-46DB-9F77-6AEB567F8F8F}"/>
                    </a:ext>
                  </a:extLst>
                </p:cNvPr>
                <p:cNvSpPr txBox="1"/>
                <p:nvPr/>
              </p:nvSpPr>
              <p:spPr>
                <a:xfrm>
                  <a:off x="735360" y="4808137"/>
                  <a:ext cx="2030888" cy="696306"/>
                </a:xfrm>
                <a:prstGeom prst="rect">
                  <a:avLst/>
                </a:prstGeom>
              </p:spPr>
              <p:txBody>
                <a:bodyPr wrap="square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lnSpc>
                      <a:spcPct val="150000"/>
                    </a:lnSpc>
                    <a:spcBef>
                      <a:spcPct val="0"/>
                    </a:spcBef>
                    <a:buNone/>
                  </a:pPr>
                  <a:r>
                    <a:rPr lang="en-US" altLang="zh-CN" sz="1100" dirty="0"/>
                    <a:t>Supporting text here. </a:t>
                  </a:r>
                </a:p>
                <a:p>
                  <a:pPr marL="0" indent="0" algn="ctr">
                    <a:lnSpc>
                      <a:spcPct val="150000"/>
                    </a:lnSpc>
                    <a:spcBef>
                      <a:spcPct val="0"/>
                    </a:spcBef>
                    <a:buNone/>
                  </a:pPr>
                  <a:r>
                    <a:rPr lang="en-US" altLang="zh-CN" sz="1100" dirty="0"/>
                    <a:t>……</a:t>
                  </a:r>
                  <a:endParaRPr lang="zh-CN" altLang="en-US" sz="1100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21584069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D0764B4-2524-408C-9012-33FEC8E74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工作目标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EF8B8EC-51AC-44D8-81B8-1691FDD35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3EA1CBE-C3DA-47C0-96B2-B6C51B8AAD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37BBAEA-42F4-44C4-B53B-A83403024A9B}"/>
              </a:ext>
            </a:extLst>
          </p:cNvPr>
          <p:cNvGrpSpPr>
            <a:grpSpLocks noChangeAspect="1"/>
          </p:cNvGrpSpPr>
          <p:nvPr/>
        </p:nvGrpSpPr>
        <p:grpSpPr>
          <a:xfrm>
            <a:off x="920895" y="1130300"/>
            <a:ext cx="10337510" cy="5003800"/>
            <a:chOff x="920895" y="1130300"/>
            <a:chExt cx="10337510" cy="5003800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DDA6C747-C78A-48AC-909E-F7075AF9AE38}"/>
                </a:ext>
              </a:extLst>
            </p:cNvPr>
            <p:cNvGrpSpPr/>
            <p:nvPr/>
          </p:nvGrpSpPr>
          <p:grpSpPr>
            <a:xfrm>
              <a:off x="3048028" y="1130300"/>
              <a:ext cx="1828978" cy="1847823"/>
              <a:chOff x="913897" y="4286277"/>
              <a:chExt cx="1828978" cy="1847823"/>
            </a:xfrm>
          </p:grpSpPr>
          <p:sp>
            <p:nvSpPr>
              <p:cNvPr id="38" name="文本框 37">
                <a:extLst>
                  <a:ext uri="{FF2B5EF4-FFF2-40B4-BE49-F238E27FC236}">
                    <a16:creationId xmlns:a16="http://schemas.microsoft.com/office/drawing/2014/main" id="{921AE7E5-F9A8-46DC-A3B8-94BF6A2C9D93}"/>
                  </a:ext>
                </a:extLst>
              </p:cNvPr>
              <p:cNvSpPr txBox="1"/>
              <p:nvPr/>
            </p:nvSpPr>
            <p:spPr>
              <a:xfrm>
                <a:off x="913897" y="4733039"/>
                <a:ext cx="1828978" cy="140106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 …</a:t>
                </a:r>
              </a:p>
            </p:txBody>
          </p:sp>
          <p:sp>
            <p:nvSpPr>
              <p:cNvPr id="39" name="矩形 38">
                <a:extLst>
                  <a:ext uri="{FF2B5EF4-FFF2-40B4-BE49-F238E27FC236}">
                    <a16:creationId xmlns:a16="http://schemas.microsoft.com/office/drawing/2014/main" id="{74F68E1B-3302-46D8-84C6-3382054D3536}"/>
                  </a:ext>
                </a:extLst>
              </p:cNvPr>
              <p:cNvSpPr/>
              <p:nvPr/>
            </p:nvSpPr>
            <p:spPr>
              <a:xfrm>
                <a:off x="913897" y="4286277"/>
                <a:ext cx="1828978" cy="446763"/>
              </a:xfrm>
              <a:prstGeom prst="rect">
                <a:avLst/>
              </a:prstGeom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354"/>
                <a:r>
                  <a:rPr lang="en-US" altLang="zh-CN" sz="1600" b="1" dirty="0"/>
                  <a:t>20XX.</a:t>
                </a:r>
                <a:r>
                  <a:rPr lang="zh-CN" altLang="en-US" sz="1600" b="1" dirty="0"/>
                  <a:t>目标</a:t>
                </a:r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A2C99CD6-EFD8-4116-B3BE-4B5820340621}"/>
                </a:ext>
              </a:extLst>
            </p:cNvPr>
            <p:cNvGrpSpPr/>
            <p:nvPr/>
          </p:nvGrpSpPr>
          <p:grpSpPr>
            <a:xfrm>
              <a:off x="7302294" y="1130300"/>
              <a:ext cx="1828978" cy="1847823"/>
              <a:chOff x="913897" y="4286277"/>
              <a:chExt cx="1828978" cy="1847823"/>
            </a:xfrm>
          </p:grpSpPr>
          <p:sp>
            <p:nvSpPr>
              <p:cNvPr id="36" name="文本框 35">
                <a:extLst>
                  <a:ext uri="{FF2B5EF4-FFF2-40B4-BE49-F238E27FC236}">
                    <a16:creationId xmlns:a16="http://schemas.microsoft.com/office/drawing/2014/main" id="{921AE7E5-F9A8-46DC-A3B8-94BF6A2C9D93}"/>
                  </a:ext>
                </a:extLst>
              </p:cNvPr>
              <p:cNvSpPr txBox="1"/>
              <p:nvPr/>
            </p:nvSpPr>
            <p:spPr>
              <a:xfrm>
                <a:off x="913897" y="4733039"/>
                <a:ext cx="1828978" cy="140106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 …</a:t>
                </a:r>
              </a:p>
            </p:txBody>
          </p:sp>
          <p:sp>
            <p:nvSpPr>
              <p:cNvPr id="37" name="矩形 36">
                <a:extLst>
                  <a:ext uri="{FF2B5EF4-FFF2-40B4-BE49-F238E27FC236}">
                    <a16:creationId xmlns:a16="http://schemas.microsoft.com/office/drawing/2014/main" id="{74F68E1B-3302-46D8-84C6-3382054D3536}"/>
                  </a:ext>
                </a:extLst>
              </p:cNvPr>
              <p:cNvSpPr/>
              <p:nvPr/>
            </p:nvSpPr>
            <p:spPr>
              <a:xfrm>
                <a:off x="913897" y="4286277"/>
                <a:ext cx="1828978" cy="446763"/>
              </a:xfrm>
              <a:prstGeom prst="rect">
                <a:avLst/>
              </a:prstGeom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354"/>
                <a:r>
                  <a:rPr lang="en-US" altLang="zh-CN" sz="1600" b="1" dirty="0"/>
                  <a:t>20XX.</a:t>
                </a:r>
                <a:r>
                  <a:rPr lang="zh-CN" altLang="en-US" sz="1600" b="1" dirty="0"/>
                  <a:t>目标</a:t>
                </a:r>
              </a:p>
            </p:txBody>
          </p:sp>
        </p:grpSp>
        <p:sp>
          <p:nvSpPr>
            <p:cNvPr id="8" name="箭头: 右 7">
              <a:extLst>
                <a:ext uri="{FF2B5EF4-FFF2-40B4-BE49-F238E27FC236}">
                  <a16:creationId xmlns:a16="http://schemas.microsoft.com/office/drawing/2014/main" id="{2C05F972-A918-4E32-8CC7-B1403A660A54}"/>
                </a:ext>
              </a:extLst>
            </p:cNvPr>
            <p:cNvSpPr/>
            <p:nvPr/>
          </p:nvSpPr>
          <p:spPr>
            <a:xfrm>
              <a:off x="2657756" y="3513387"/>
              <a:ext cx="484446" cy="237627"/>
            </a:xfrm>
            <a:prstGeom prst="rightArrow">
              <a:avLst>
                <a:gd name="adj1" fmla="val 50000"/>
                <a:gd name="adj2" fmla="val 83521"/>
              </a:avLst>
            </a:prstGeom>
            <a:solidFill>
              <a:schemeClr val="bg1">
                <a:lumMod val="95000"/>
              </a:schemeClr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9" name="箭头: 右 8">
              <a:extLst>
                <a:ext uri="{FF2B5EF4-FFF2-40B4-BE49-F238E27FC236}">
                  <a16:creationId xmlns:a16="http://schemas.microsoft.com/office/drawing/2014/main" id="{E290700B-FC75-43BC-BFB2-259BAD2DE887}"/>
                </a:ext>
              </a:extLst>
            </p:cNvPr>
            <p:cNvSpPr/>
            <p:nvPr/>
          </p:nvSpPr>
          <p:spPr>
            <a:xfrm>
              <a:off x="4782834" y="3513387"/>
              <a:ext cx="484446" cy="237627"/>
            </a:xfrm>
            <a:prstGeom prst="rightArrow">
              <a:avLst>
                <a:gd name="adj1" fmla="val 50000"/>
                <a:gd name="adj2" fmla="val 83521"/>
              </a:avLst>
            </a:prstGeom>
            <a:solidFill>
              <a:schemeClr val="bg1">
                <a:lumMod val="95000"/>
              </a:schemeClr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10" name="箭头: 右 9">
              <a:extLst>
                <a:ext uri="{FF2B5EF4-FFF2-40B4-BE49-F238E27FC236}">
                  <a16:creationId xmlns:a16="http://schemas.microsoft.com/office/drawing/2014/main" id="{A3E5D733-FE1D-4A88-9681-A783355C8408}"/>
                </a:ext>
              </a:extLst>
            </p:cNvPr>
            <p:cNvSpPr/>
            <p:nvPr/>
          </p:nvSpPr>
          <p:spPr>
            <a:xfrm>
              <a:off x="6907912" y="3513387"/>
              <a:ext cx="484446" cy="237627"/>
            </a:xfrm>
            <a:prstGeom prst="rightArrow">
              <a:avLst>
                <a:gd name="adj1" fmla="val 50000"/>
                <a:gd name="adj2" fmla="val 83521"/>
              </a:avLst>
            </a:prstGeom>
            <a:solidFill>
              <a:schemeClr val="bg1">
                <a:lumMod val="95000"/>
              </a:schemeClr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sp>
          <p:nvSpPr>
            <p:cNvPr id="11" name="箭头: 右 10">
              <a:extLst>
                <a:ext uri="{FF2B5EF4-FFF2-40B4-BE49-F238E27FC236}">
                  <a16:creationId xmlns:a16="http://schemas.microsoft.com/office/drawing/2014/main" id="{31BDF815-B663-48A5-A25E-7FAAC92BA52A}"/>
                </a:ext>
              </a:extLst>
            </p:cNvPr>
            <p:cNvSpPr/>
            <p:nvPr/>
          </p:nvSpPr>
          <p:spPr>
            <a:xfrm>
              <a:off x="9032990" y="3513387"/>
              <a:ext cx="484446" cy="237627"/>
            </a:xfrm>
            <a:prstGeom prst="rightArrow">
              <a:avLst>
                <a:gd name="adj1" fmla="val 50000"/>
                <a:gd name="adj2" fmla="val 83521"/>
              </a:avLst>
            </a:prstGeom>
            <a:solidFill>
              <a:schemeClr val="bg1">
                <a:lumMod val="95000"/>
              </a:schemeClr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i="1">
                <a:solidFill>
                  <a:schemeClr val="tx1"/>
                </a:solidFill>
              </a:endParaRPr>
            </a:p>
          </p:txBody>
        </p: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2325DAF3-A900-477D-A5C2-1207E6B4F106}"/>
                </a:ext>
              </a:extLst>
            </p:cNvPr>
            <p:cNvGrpSpPr/>
            <p:nvPr/>
          </p:nvGrpSpPr>
          <p:grpSpPr>
            <a:xfrm>
              <a:off x="1367841" y="3113430"/>
              <a:ext cx="935086" cy="1037540"/>
              <a:chOff x="1371953" y="3113430"/>
              <a:chExt cx="935086" cy="1037540"/>
            </a:xfrm>
          </p:grpSpPr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27EAB86D-A930-47C0-A1EA-EA91FCCE7CB4}"/>
                  </a:ext>
                </a:extLst>
              </p:cNvPr>
              <p:cNvSpPr/>
              <p:nvPr/>
            </p:nvSpPr>
            <p:spPr bwMode="auto">
              <a:xfrm>
                <a:off x="1371953" y="3113430"/>
                <a:ext cx="935086" cy="1037540"/>
              </a:xfrm>
              <a:custGeom>
                <a:avLst/>
                <a:gdLst>
                  <a:gd name="T0" fmla="*/ 668 w 1369"/>
                  <a:gd name="T1" fmla="*/ 0 h 1519"/>
                  <a:gd name="T2" fmla="*/ 702 w 1369"/>
                  <a:gd name="T3" fmla="*/ 0 h 1519"/>
                  <a:gd name="T4" fmla="*/ 736 w 1369"/>
                  <a:gd name="T5" fmla="*/ 7 h 1519"/>
                  <a:gd name="T6" fmla="*/ 768 w 1369"/>
                  <a:gd name="T7" fmla="*/ 21 h 1519"/>
                  <a:gd name="T8" fmla="*/ 1284 w 1369"/>
                  <a:gd name="T9" fmla="*/ 318 h 1519"/>
                  <a:gd name="T10" fmla="*/ 1313 w 1369"/>
                  <a:gd name="T11" fmla="*/ 339 h 1519"/>
                  <a:gd name="T12" fmla="*/ 1337 w 1369"/>
                  <a:gd name="T13" fmla="*/ 364 h 1519"/>
                  <a:gd name="T14" fmla="*/ 1354 w 1369"/>
                  <a:gd name="T15" fmla="*/ 395 h 1519"/>
                  <a:gd name="T16" fmla="*/ 1364 w 1369"/>
                  <a:gd name="T17" fmla="*/ 429 h 1519"/>
                  <a:gd name="T18" fmla="*/ 1369 w 1369"/>
                  <a:gd name="T19" fmla="*/ 465 h 1519"/>
                  <a:gd name="T20" fmla="*/ 1369 w 1369"/>
                  <a:gd name="T21" fmla="*/ 1054 h 1519"/>
                  <a:gd name="T22" fmla="*/ 1364 w 1369"/>
                  <a:gd name="T23" fmla="*/ 1090 h 1519"/>
                  <a:gd name="T24" fmla="*/ 1354 w 1369"/>
                  <a:gd name="T25" fmla="*/ 1124 h 1519"/>
                  <a:gd name="T26" fmla="*/ 1337 w 1369"/>
                  <a:gd name="T27" fmla="*/ 1154 h 1519"/>
                  <a:gd name="T28" fmla="*/ 1313 w 1369"/>
                  <a:gd name="T29" fmla="*/ 1181 h 1519"/>
                  <a:gd name="T30" fmla="*/ 1284 w 1369"/>
                  <a:gd name="T31" fmla="*/ 1201 h 1519"/>
                  <a:gd name="T32" fmla="*/ 768 w 1369"/>
                  <a:gd name="T33" fmla="*/ 1497 h 1519"/>
                  <a:gd name="T34" fmla="*/ 736 w 1369"/>
                  <a:gd name="T35" fmla="*/ 1512 h 1519"/>
                  <a:gd name="T36" fmla="*/ 702 w 1369"/>
                  <a:gd name="T37" fmla="*/ 1519 h 1519"/>
                  <a:gd name="T38" fmla="*/ 668 w 1369"/>
                  <a:gd name="T39" fmla="*/ 1519 h 1519"/>
                  <a:gd name="T40" fmla="*/ 632 w 1369"/>
                  <a:gd name="T41" fmla="*/ 1512 h 1519"/>
                  <a:gd name="T42" fmla="*/ 599 w 1369"/>
                  <a:gd name="T43" fmla="*/ 1497 h 1519"/>
                  <a:gd name="T44" fmla="*/ 85 w 1369"/>
                  <a:gd name="T45" fmla="*/ 1201 h 1519"/>
                  <a:gd name="T46" fmla="*/ 56 w 1369"/>
                  <a:gd name="T47" fmla="*/ 1181 h 1519"/>
                  <a:gd name="T48" fmla="*/ 32 w 1369"/>
                  <a:gd name="T49" fmla="*/ 1154 h 1519"/>
                  <a:gd name="T50" fmla="*/ 15 w 1369"/>
                  <a:gd name="T51" fmla="*/ 1124 h 1519"/>
                  <a:gd name="T52" fmla="*/ 3 w 1369"/>
                  <a:gd name="T53" fmla="*/ 1090 h 1519"/>
                  <a:gd name="T54" fmla="*/ 0 w 1369"/>
                  <a:gd name="T55" fmla="*/ 1054 h 1519"/>
                  <a:gd name="T56" fmla="*/ 0 w 1369"/>
                  <a:gd name="T57" fmla="*/ 465 h 1519"/>
                  <a:gd name="T58" fmla="*/ 3 w 1369"/>
                  <a:gd name="T59" fmla="*/ 429 h 1519"/>
                  <a:gd name="T60" fmla="*/ 15 w 1369"/>
                  <a:gd name="T61" fmla="*/ 395 h 1519"/>
                  <a:gd name="T62" fmla="*/ 32 w 1369"/>
                  <a:gd name="T63" fmla="*/ 364 h 1519"/>
                  <a:gd name="T64" fmla="*/ 56 w 1369"/>
                  <a:gd name="T65" fmla="*/ 339 h 1519"/>
                  <a:gd name="T66" fmla="*/ 85 w 1369"/>
                  <a:gd name="T67" fmla="*/ 318 h 1519"/>
                  <a:gd name="T68" fmla="*/ 599 w 1369"/>
                  <a:gd name="T69" fmla="*/ 21 h 1519"/>
                  <a:gd name="T70" fmla="*/ 632 w 1369"/>
                  <a:gd name="T71" fmla="*/ 7 h 1519"/>
                  <a:gd name="T72" fmla="*/ 668 w 1369"/>
                  <a:gd name="T73" fmla="*/ 0 h 1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369" h="1519">
                    <a:moveTo>
                      <a:pt x="668" y="0"/>
                    </a:moveTo>
                    <a:lnTo>
                      <a:pt x="702" y="0"/>
                    </a:lnTo>
                    <a:lnTo>
                      <a:pt x="736" y="7"/>
                    </a:lnTo>
                    <a:lnTo>
                      <a:pt x="768" y="21"/>
                    </a:lnTo>
                    <a:lnTo>
                      <a:pt x="1284" y="318"/>
                    </a:lnTo>
                    <a:lnTo>
                      <a:pt x="1313" y="339"/>
                    </a:lnTo>
                    <a:lnTo>
                      <a:pt x="1337" y="364"/>
                    </a:lnTo>
                    <a:lnTo>
                      <a:pt x="1354" y="395"/>
                    </a:lnTo>
                    <a:lnTo>
                      <a:pt x="1364" y="429"/>
                    </a:lnTo>
                    <a:lnTo>
                      <a:pt x="1369" y="465"/>
                    </a:lnTo>
                    <a:lnTo>
                      <a:pt x="1369" y="1054"/>
                    </a:lnTo>
                    <a:lnTo>
                      <a:pt x="1364" y="1090"/>
                    </a:lnTo>
                    <a:lnTo>
                      <a:pt x="1354" y="1124"/>
                    </a:lnTo>
                    <a:lnTo>
                      <a:pt x="1337" y="1154"/>
                    </a:lnTo>
                    <a:lnTo>
                      <a:pt x="1313" y="1181"/>
                    </a:lnTo>
                    <a:lnTo>
                      <a:pt x="1284" y="1201"/>
                    </a:lnTo>
                    <a:lnTo>
                      <a:pt x="768" y="1497"/>
                    </a:lnTo>
                    <a:lnTo>
                      <a:pt x="736" y="1512"/>
                    </a:lnTo>
                    <a:lnTo>
                      <a:pt x="702" y="1519"/>
                    </a:lnTo>
                    <a:lnTo>
                      <a:pt x="668" y="1519"/>
                    </a:lnTo>
                    <a:lnTo>
                      <a:pt x="632" y="1512"/>
                    </a:lnTo>
                    <a:lnTo>
                      <a:pt x="599" y="1497"/>
                    </a:lnTo>
                    <a:lnTo>
                      <a:pt x="85" y="1201"/>
                    </a:lnTo>
                    <a:lnTo>
                      <a:pt x="56" y="1181"/>
                    </a:lnTo>
                    <a:lnTo>
                      <a:pt x="32" y="1154"/>
                    </a:lnTo>
                    <a:lnTo>
                      <a:pt x="15" y="1124"/>
                    </a:lnTo>
                    <a:lnTo>
                      <a:pt x="3" y="1090"/>
                    </a:lnTo>
                    <a:lnTo>
                      <a:pt x="0" y="1054"/>
                    </a:lnTo>
                    <a:lnTo>
                      <a:pt x="0" y="465"/>
                    </a:lnTo>
                    <a:lnTo>
                      <a:pt x="3" y="429"/>
                    </a:lnTo>
                    <a:lnTo>
                      <a:pt x="15" y="395"/>
                    </a:lnTo>
                    <a:lnTo>
                      <a:pt x="32" y="364"/>
                    </a:lnTo>
                    <a:lnTo>
                      <a:pt x="56" y="339"/>
                    </a:lnTo>
                    <a:lnTo>
                      <a:pt x="85" y="318"/>
                    </a:lnTo>
                    <a:lnTo>
                      <a:pt x="599" y="21"/>
                    </a:lnTo>
                    <a:lnTo>
                      <a:pt x="632" y="7"/>
                    </a:lnTo>
                    <a:lnTo>
                      <a:pt x="668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endParaRPr lang="ru-RU" sz="1600" i="1" u="sng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6069D9E6-A2A2-4482-90B7-2BC0B997C0CB}"/>
                  </a:ext>
                </a:extLst>
              </p:cNvPr>
              <p:cNvSpPr/>
              <p:nvPr/>
            </p:nvSpPr>
            <p:spPr>
              <a:xfrm>
                <a:off x="1619010" y="3405852"/>
                <a:ext cx="440973" cy="452697"/>
              </a:xfrm>
              <a:custGeom>
                <a:avLst/>
                <a:gdLst>
                  <a:gd name="connsiteX0" fmla="*/ 549811 w 591833"/>
                  <a:gd name="connsiteY0" fmla="*/ 523595 h 607569"/>
                  <a:gd name="connsiteX1" fmla="*/ 591833 w 591833"/>
                  <a:gd name="connsiteY1" fmla="*/ 565582 h 607569"/>
                  <a:gd name="connsiteX2" fmla="*/ 549811 w 591833"/>
                  <a:gd name="connsiteY2" fmla="*/ 607569 h 607569"/>
                  <a:gd name="connsiteX3" fmla="*/ 507789 w 591833"/>
                  <a:gd name="connsiteY3" fmla="*/ 565582 h 607569"/>
                  <a:gd name="connsiteX4" fmla="*/ 549811 w 591833"/>
                  <a:gd name="connsiteY4" fmla="*/ 523595 h 607569"/>
                  <a:gd name="connsiteX5" fmla="*/ 295917 w 591833"/>
                  <a:gd name="connsiteY5" fmla="*/ 523595 h 607569"/>
                  <a:gd name="connsiteX6" fmla="*/ 338010 w 591833"/>
                  <a:gd name="connsiteY6" fmla="*/ 565582 h 607569"/>
                  <a:gd name="connsiteX7" fmla="*/ 295917 w 591833"/>
                  <a:gd name="connsiteY7" fmla="*/ 607569 h 607569"/>
                  <a:gd name="connsiteX8" fmla="*/ 253824 w 591833"/>
                  <a:gd name="connsiteY8" fmla="*/ 565582 h 607569"/>
                  <a:gd name="connsiteX9" fmla="*/ 295917 w 591833"/>
                  <a:gd name="connsiteY9" fmla="*/ 523595 h 607569"/>
                  <a:gd name="connsiteX10" fmla="*/ 42022 w 591833"/>
                  <a:gd name="connsiteY10" fmla="*/ 523595 h 607569"/>
                  <a:gd name="connsiteX11" fmla="*/ 84044 w 591833"/>
                  <a:gd name="connsiteY11" fmla="*/ 565582 h 607569"/>
                  <a:gd name="connsiteX12" fmla="*/ 42022 w 591833"/>
                  <a:gd name="connsiteY12" fmla="*/ 607569 h 607569"/>
                  <a:gd name="connsiteX13" fmla="*/ 0 w 591833"/>
                  <a:gd name="connsiteY13" fmla="*/ 565582 h 607569"/>
                  <a:gd name="connsiteX14" fmla="*/ 42022 w 591833"/>
                  <a:gd name="connsiteY14" fmla="*/ 523595 h 607569"/>
                  <a:gd name="connsiteX15" fmla="*/ 275789 w 591833"/>
                  <a:gd name="connsiteY15" fmla="*/ 358260 h 607569"/>
                  <a:gd name="connsiteX16" fmla="*/ 295916 w 591833"/>
                  <a:gd name="connsiteY16" fmla="*/ 359334 h 607569"/>
                  <a:gd name="connsiteX17" fmla="*/ 316043 w 591833"/>
                  <a:gd name="connsiteY17" fmla="*/ 358260 h 607569"/>
                  <a:gd name="connsiteX18" fmla="*/ 316043 w 591833"/>
                  <a:gd name="connsiteY18" fmla="*/ 426658 h 607569"/>
                  <a:gd name="connsiteX19" fmla="*/ 548348 w 591833"/>
                  <a:gd name="connsiteY19" fmla="*/ 426658 h 607569"/>
                  <a:gd name="connsiteX20" fmla="*/ 568475 w 591833"/>
                  <a:gd name="connsiteY20" fmla="*/ 446748 h 607569"/>
                  <a:gd name="connsiteX21" fmla="*/ 568475 w 591833"/>
                  <a:gd name="connsiteY21" fmla="*/ 492908 h 607569"/>
                  <a:gd name="connsiteX22" fmla="*/ 549885 w 591833"/>
                  <a:gd name="connsiteY22" fmla="*/ 490455 h 607569"/>
                  <a:gd name="connsiteX23" fmla="*/ 528221 w 591833"/>
                  <a:gd name="connsiteY23" fmla="*/ 493675 h 607569"/>
                  <a:gd name="connsiteX24" fmla="*/ 528221 w 591833"/>
                  <a:gd name="connsiteY24" fmla="*/ 466837 h 607569"/>
                  <a:gd name="connsiteX25" fmla="*/ 316043 w 591833"/>
                  <a:gd name="connsiteY25" fmla="*/ 466837 h 607569"/>
                  <a:gd name="connsiteX26" fmla="*/ 316043 w 591833"/>
                  <a:gd name="connsiteY26" fmla="*/ 493215 h 607569"/>
                  <a:gd name="connsiteX27" fmla="*/ 295916 w 591833"/>
                  <a:gd name="connsiteY27" fmla="*/ 490455 h 607569"/>
                  <a:gd name="connsiteX28" fmla="*/ 275789 w 591833"/>
                  <a:gd name="connsiteY28" fmla="*/ 493215 h 607569"/>
                  <a:gd name="connsiteX29" fmla="*/ 275789 w 591833"/>
                  <a:gd name="connsiteY29" fmla="*/ 466837 h 607569"/>
                  <a:gd name="connsiteX30" fmla="*/ 63611 w 591833"/>
                  <a:gd name="connsiteY30" fmla="*/ 466837 h 607569"/>
                  <a:gd name="connsiteX31" fmla="*/ 63611 w 591833"/>
                  <a:gd name="connsiteY31" fmla="*/ 493675 h 607569"/>
                  <a:gd name="connsiteX32" fmla="*/ 41948 w 591833"/>
                  <a:gd name="connsiteY32" fmla="*/ 490455 h 607569"/>
                  <a:gd name="connsiteX33" fmla="*/ 23357 w 591833"/>
                  <a:gd name="connsiteY33" fmla="*/ 492908 h 607569"/>
                  <a:gd name="connsiteX34" fmla="*/ 23357 w 591833"/>
                  <a:gd name="connsiteY34" fmla="*/ 446748 h 607569"/>
                  <a:gd name="connsiteX35" fmla="*/ 43484 w 591833"/>
                  <a:gd name="connsiteY35" fmla="*/ 426658 h 607569"/>
                  <a:gd name="connsiteX36" fmla="*/ 275789 w 591833"/>
                  <a:gd name="connsiteY36" fmla="*/ 426658 h 607569"/>
                  <a:gd name="connsiteX37" fmla="*/ 295880 w 591833"/>
                  <a:gd name="connsiteY37" fmla="*/ 32832 h 607569"/>
                  <a:gd name="connsiteX38" fmla="*/ 275751 w 591833"/>
                  <a:gd name="connsiteY38" fmla="*/ 52930 h 607569"/>
                  <a:gd name="connsiteX39" fmla="*/ 275751 w 591833"/>
                  <a:gd name="connsiteY39" fmla="*/ 152498 h 607569"/>
                  <a:gd name="connsiteX40" fmla="*/ 245635 w 591833"/>
                  <a:gd name="connsiteY40" fmla="*/ 182415 h 607569"/>
                  <a:gd name="connsiteX41" fmla="*/ 245635 w 591833"/>
                  <a:gd name="connsiteY41" fmla="*/ 210951 h 607569"/>
                  <a:gd name="connsiteX42" fmla="*/ 259925 w 591833"/>
                  <a:gd name="connsiteY42" fmla="*/ 216781 h 607569"/>
                  <a:gd name="connsiteX43" fmla="*/ 274061 w 591833"/>
                  <a:gd name="connsiteY43" fmla="*/ 210951 h 607569"/>
                  <a:gd name="connsiteX44" fmla="*/ 310170 w 591833"/>
                  <a:gd name="connsiteY44" fmla="*/ 174898 h 607569"/>
                  <a:gd name="connsiteX45" fmla="*/ 316009 w 591833"/>
                  <a:gd name="connsiteY45" fmla="*/ 160783 h 607569"/>
                  <a:gd name="connsiteX46" fmla="*/ 316009 w 591833"/>
                  <a:gd name="connsiteY46" fmla="*/ 52930 h 607569"/>
                  <a:gd name="connsiteX47" fmla="*/ 295880 w 591833"/>
                  <a:gd name="connsiteY47" fmla="*/ 32832 h 607569"/>
                  <a:gd name="connsiteX48" fmla="*/ 295880 w 591833"/>
                  <a:gd name="connsiteY48" fmla="*/ 0 h 607569"/>
                  <a:gd name="connsiteX49" fmla="*/ 456910 w 591833"/>
                  <a:gd name="connsiteY49" fmla="*/ 160783 h 607569"/>
                  <a:gd name="connsiteX50" fmla="*/ 295880 w 591833"/>
                  <a:gd name="connsiteY50" fmla="*/ 321566 h 607569"/>
                  <a:gd name="connsiteX51" fmla="*/ 134850 w 591833"/>
                  <a:gd name="connsiteY51" fmla="*/ 160783 h 607569"/>
                  <a:gd name="connsiteX52" fmla="*/ 295880 w 591833"/>
                  <a:gd name="connsiteY52" fmla="*/ 0 h 607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591833" h="607569">
                    <a:moveTo>
                      <a:pt x="549811" y="523595"/>
                    </a:moveTo>
                    <a:cubicBezTo>
                      <a:pt x="573019" y="523595"/>
                      <a:pt x="591833" y="542393"/>
                      <a:pt x="591833" y="565582"/>
                    </a:cubicBezTo>
                    <a:cubicBezTo>
                      <a:pt x="591833" y="588771"/>
                      <a:pt x="573019" y="607569"/>
                      <a:pt x="549811" y="607569"/>
                    </a:cubicBezTo>
                    <a:cubicBezTo>
                      <a:pt x="526603" y="607569"/>
                      <a:pt x="507789" y="588771"/>
                      <a:pt x="507789" y="565582"/>
                    </a:cubicBezTo>
                    <a:cubicBezTo>
                      <a:pt x="507789" y="542393"/>
                      <a:pt x="526603" y="523595"/>
                      <a:pt x="549811" y="523595"/>
                    </a:cubicBezTo>
                    <a:close/>
                    <a:moveTo>
                      <a:pt x="295917" y="523595"/>
                    </a:moveTo>
                    <a:cubicBezTo>
                      <a:pt x="319164" y="523595"/>
                      <a:pt x="338010" y="542393"/>
                      <a:pt x="338010" y="565582"/>
                    </a:cubicBezTo>
                    <a:cubicBezTo>
                      <a:pt x="338010" y="588771"/>
                      <a:pt x="319164" y="607569"/>
                      <a:pt x="295917" y="607569"/>
                    </a:cubicBezTo>
                    <a:cubicBezTo>
                      <a:pt x="272670" y="607569"/>
                      <a:pt x="253824" y="588771"/>
                      <a:pt x="253824" y="565582"/>
                    </a:cubicBezTo>
                    <a:cubicBezTo>
                      <a:pt x="253824" y="542393"/>
                      <a:pt x="272670" y="523595"/>
                      <a:pt x="295917" y="523595"/>
                    </a:cubicBezTo>
                    <a:close/>
                    <a:moveTo>
                      <a:pt x="42022" y="523595"/>
                    </a:moveTo>
                    <a:cubicBezTo>
                      <a:pt x="65230" y="523595"/>
                      <a:pt x="84044" y="542393"/>
                      <a:pt x="84044" y="565582"/>
                    </a:cubicBezTo>
                    <a:cubicBezTo>
                      <a:pt x="84044" y="588771"/>
                      <a:pt x="65230" y="607569"/>
                      <a:pt x="42022" y="607569"/>
                    </a:cubicBezTo>
                    <a:cubicBezTo>
                      <a:pt x="18814" y="607569"/>
                      <a:pt x="0" y="588771"/>
                      <a:pt x="0" y="565582"/>
                    </a:cubicBezTo>
                    <a:cubicBezTo>
                      <a:pt x="0" y="542393"/>
                      <a:pt x="18814" y="523595"/>
                      <a:pt x="42022" y="523595"/>
                    </a:cubicBezTo>
                    <a:close/>
                    <a:moveTo>
                      <a:pt x="275789" y="358260"/>
                    </a:moveTo>
                    <a:cubicBezTo>
                      <a:pt x="282396" y="359027"/>
                      <a:pt x="289156" y="359334"/>
                      <a:pt x="295916" y="359334"/>
                    </a:cubicBezTo>
                    <a:cubicBezTo>
                      <a:pt x="302676" y="359334"/>
                      <a:pt x="309437" y="359027"/>
                      <a:pt x="316043" y="358260"/>
                    </a:cubicBezTo>
                    <a:lnTo>
                      <a:pt x="316043" y="426658"/>
                    </a:lnTo>
                    <a:lnTo>
                      <a:pt x="548348" y="426658"/>
                    </a:lnTo>
                    <a:cubicBezTo>
                      <a:pt x="559410" y="426658"/>
                      <a:pt x="568475" y="435706"/>
                      <a:pt x="568475" y="446748"/>
                    </a:cubicBezTo>
                    <a:lnTo>
                      <a:pt x="568475" y="492908"/>
                    </a:lnTo>
                    <a:cubicBezTo>
                      <a:pt x="562483" y="491375"/>
                      <a:pt x="556184" y="490455"/>
                      <a:pt x="549885" y="490455"/>
                    </a:cubicBezTo>
                    <a:cubicBezTo>
                      <a:pt x="542356" y="490455"/>
                      <a:pt x="535135" y="491681"/>
                      <a:pt x="528221" y="493675"/>
                    </a:cubicBezTo>
                    <a:lnTo>
                      <a:pt x="528221" y="466837"/>
                    </a:lnTo>
                    <a:lnTo>
                      <a:pt x="316043" y="466837"/>
                    </a:lnTo>
                    <a:lnTo>
                      <a:pt x="316043" y="493215"/>
                    </a:lnTo>
                    <a:cubicBezTo>
                      <a:pt x="309590" y="491528"/>
                      <a:pt x="302830" y="490455"/>
                      <a:pt x="295916" y="490455"/>
                    </a:cubicBezTo>
                    <a:cubicBezTo>
                      <a:pt x="289002" y="490455"/>
                      <a:pt x="282242" y="491528"/>
                      <a:pt x="275789" y="493215"/>
                    </a:cubicBezTo>
                    <a:lnTo>
                      <a:pt x="275789" y="466837"/>
                    </a:lnTo>
                    <a:lnTo>
                      <a:pt x="63611" y="466837"/>
                    </a:lnTo>
                    <a:lnTo>
                      <a:pt x="63611" y="493675"/>
                    </a:lnTo>
                    <a:cubicBezTo>
                      <a:pt x="56697" y="491681"/>
                      <a:pt x="49476" y="490455"/>
                      <a:pt x="41948" y="490455"/>
                    </a:cubicBezTo>
                    <a:cubicBezTo>
                      <a:pt x="35495" y="490455"/>
                      <a:pt x="29349" y="491375"/>
                      <a:pt x="23357" y="492908"/>
                    </a:cubicBezTo>
                    <a:lnTo>
                      <a:pt x="23357" y="446748"/>
                    </a:lnTo>
                    <a:cubicBezTo>
                      <a:pt x="23357" y="435706"/>
                      <a:pt x="32422" y="426658"/>
                      <a:pt x="43484" y="426658"/>
                    </a:cubicBezTo>
                    <a:lnTo>
                      <a:pt x="275789" y="426658"/>
                    </a:lnTo>
                    <a:close/>
                    <a:moveTo>
                      <a:pt x="295880" y="32832"/>
                    </a:moveTo>
                    <a:cubicBezTo>
                      <a:pt x="284817" y="32832"/>
                      <a:pt x="275751" y="41883"/>
                      <a:pt x="275751" y="52930"/>
                    </a:cubicBezTo>
                    <a:lnTo>
                      <a:pt x="275751" y="152498"/>
                    </a:lnTo>
                    <a:lnTo>
                      <a:pt x="245635" y="182415"/>
                    </a:lnTo>
                    <a:cubicBezTo>
                      <a:pt x="237799" y="190393"/>
                      <a:pt x="237799" y="202973"/>
                      <a:pt x="245635" y="210951"/>
                    </a:cubicBezTo>
                    <a:cubicBezTo>
                      <a:pt x="249630" y="214786"/>
                      <a:pt x="254701" y="216781"/>
                      <a:pt x="259925" y="216781"/>
                    </a:cubicBezTo>
                    <a:cubicBezTo>
                      <a:pt x="264996" y="216781"/>
                      <a:pt x="270220" y="214786"/>
                      <a:pt x="274061" y="210951"/>
                    </a:cubicBezTo>
                    <a:lnTo>
                      <a:pt x="310170" y="174898"/>
                    </a:lnTo>
                    <a:cubicBezTo>
                      <a:pt x="313858" y="171215"/>
                      <a:pt x="316009" y="166153"/>
                      <a:pt x="316009" y="160783"/>
                    </a:cubicBezTo>
                    <a:lnTo>
                      <a:pt x="316009" y="52930"/>
                    </a:lnTo>
                    <a:cubicBezTo>
                      <a:pt x="316009" y="41883"/>
                      <a:pt x="306943" y="32832"/>
                      <a:pt x="295880" y="32832"/>
                    </a:cubicBezTo>
                    <a:close/>
                    <a:moveTo>
                      <a:pt x="295880" y="0"/>
                    </a:moveTo>
                    <a:cubicBezTo>
                      <a:pt x="384693" y="0"/>
                      <a:pt x="456910" y="72107"/>
                      <a:pt x="456910" y="160783"/>
                    </a:cubicBezTo>
                    <a:cubicBezTo>
                      <a:pt x="456910" y="249459"/>
                      <a:pt x="384693" y="321566"/>
                      <a:pt x="295880" y="321566"/>
                    </a:cubicBezTo>
                    <a:cubicBezTo>
                      <a:pt x="207068" y="321566"/>
                      <a:pt x="134850" y="249459"/>
                      <a:pt x="134850" y="160783"/>
                    </a:cubicBezTo>
                    <a:cubicBezTo>
                      <a:pt x="134850" y="72107"/>
                      <a:pt x="207068" y="0"/>
                      <a:pt x="29588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3AD353A2-7928-4E13-BC1F-07CC8697A9F4}"/>
                </a:ext>
              </a:extLst>
            </p:cNvPr>
            <p:cNvGrpSpPr/>
            <p:nvPr/>
          </p:nvGrpSpPr>
          <p:grpSpPr>
            <a:xfrm>
              <a:off x="3494974" y="3113430"/>
              <a:ext cx="935086" cy="1037540"/>
              <a:chOff x="3497031" y="3113430"/>
              <a:chExt cx="935086" cy="1037540"/>
            </a:xfrm>
          </p:grpSpPr>
          <p:sp>
            <p:nvSpPr>
              <p:cNvPr id="32" name="任意多边形: 形状 31">
                <a:extLst>
                  <a:ext uri="{FF2B5EF4-FFF2-40B4-BE49-F238E27FC236}">
                    <a16:creationId xmlns:a16="http://schemas.microsoft.com/office/drawing/2014/main" id="{FE4269F6-5D9D-4EFB-A34A-B8B360B7142D}"/>
                  </a:ext>
                </a:extLst>
              </p:cNvPr>
              <p:cNvSpPr/>
              <p:nvPr/>
            </p:nvSpPr>
            <p:spPr bwMode="auto">
              <a:xfrm>
                <a:off x="3497031" y="3113430"/>
                <a:ext cx="935086" cy="1037540"/>
              </a:xfrm>
              <a:custGeom>
                <a:avLst/>
                <a:gdLst>
                  <a:gd name="T0" fmla="*/ 668 w 1369"/>
                  <a:gd name="T1" fmla="*/ 0 h 1519"/>
                  <a:gd name="T2" fmla="*/ 702 w 1369"/>
                  <a:gd name="T3" fmla="*/ 0 h 1519"/>
                  <a:gd name="T4" fmla="*/ 736 w 1369"/>
                  <a:gd name="T5" fmla="*/ 7 h 1519"/>
                  <a:gd name="T6" fmla="*/ 768 w 1369"/>
                  <a:gd name="T7" fmla="*/ 21 h 1519"/>
                  <a:gd name="T8" fmla="*/ 1284 w 1369"/>
                  <a:gd name="T9" fmla="*/ 318 h 1519"/>
                  <a:gd name="T10" fmla="*/ 1313 w 1369"/>
                  <a:gd name="T11" fmla="*/ 339 h 1519"/>
                  <a:gd name="T12" fmla="*/ 1337 w 1369"/>
                  <a:gd name="T13" fmla="*/ 364 h 1519"/>
                  <a:gd name="T14" fmla="*/ 1354 w 1369"/>
                  <a:gd name="T15" fmla="*/ 395 h 1519"/>
                  <a:gd name="T16" fmla="*/ 1364 w 1369"/>
                  <a:gd name="T17" fmla="*/ 429 h 1519"/>
                  <a:gd name="T18" fmla="*/ 1369 w 1369"/>
                  <a:gd name="T19" fmla="*/ 465 h 1519"/>
                  <a:gd name="T20" fmla="*/ 1369 w 1369"/>
                  <a:gd name="T21" fmla="*/ 1054 h 1519"/>
                  <a:gd name="T22" fmla="*/ 1364 w 1369"/>
                  <a:gd name="T23" fmla="*/ 1090 h 1519"/>
                  <a:gd name="T24" fmla="*/ 1354 w 1369"/>
                  <a:gd name="T25" fmla="*/ 1124 h 1519"/>
                  <a:gd name="T26" fmla="*/ 1337 w 1369"/>
                  <a:gd name="T27" fmla="*/ 1154 h 1519"/>
                  <a:gd name="T28" fmla="*/ 1313 w 1369"/>
                  <a:gd name="T29" fmla="*/ 1181 h 1519"/>
                  <a:gd name="T30" fmla="*/ 1284 w 1369"/>
                  <a:gd name="T31" fmla="*/ 1201 h 1519"/>
                  <a:gd name="T32" fmla="*/ 768 w 1369"/>
                  <a:gd name="T33" fmla="*/ 1497 h 1519"/>
                  <a:gd name="T34" fmla="*/ 736 w 1369"/>
                  <a:gd name="T35" fmla="*/ 1512 h 1519"/>
                  <a:gd name="T36" fmla="*/ 702 w 1369"/>
                  <a:gd name="T37" fmla="*/ 1519 h 1519"/>
                  <a:gd name="T38" fmla="*/ 668 w 1369"/>
                  <a:gd name="T39" fmla="*/ 1519 h 1519"/>
                  <a:gd name="T40" fmla="*/ 632 w 1369"/>
                  <a:gd name="T41" fmla="*/ 1512 h 1519"/>
                  <a:gd name="T42" fmla="*/ 599 w 1369"/>
                  <a:gd name="T43" fmla="*/ 1497 h 1519"/>
                  <a:gd name="T44" fmla="*/ 85 w 1369"/>
                  <a:gd name="T45" fmla="*/ 1201 h 1519"/>
                  <a:gd name="T46" fmla="*/ 56 w 1369"/>
                  <a:gd name="T47" fmla="*/ 1181 h 1519"/>
                  <a:gd name="T48" fmla="*/ 32 w 1369"/>
                  <a:gd name="T49" fmla="*/ 1154 h 1519"/>
                  <a:gd name="T50" fmla="*/ 15 w 1369"/>
                  <a:gd name="T51" fmla="*/ 1124 h 1519"/>
                  <a:gd name="T52" fmla="*/ 3 w 1369"/>
                  <a:gd name="T53" fmla="*/ 1090 h 1519"/>
                  <a:gd name="T54" fmla="*/ 0 w 1369"/>
                  <a:gd name="T55" fmla="*/ 1054 h 1519"/>
                  <a:gd name="T56" fmla="*/ 0 w 1369"/>
                  <a:gd name="T57" fmla="*/ 465 h 1519"/>
                  <a:gd name="T58" fmla="*/ 3 w 1369"/>
                  <a:gd name="T59" fmla="*/ 429 h 1519"/>
                  <a:gd name="T60" fmla="*/ 15 w 1369"/>
                  <a:gd name="T61" fmla="*/ 395 h 1519"/>
                  <a:gd name="T62" fmla="*/ 32 w 1369"/>
                  <a:gd name="T63" fmla="*/ 364 h 1519"/>
                  <a:gd name="T64" fmla="*/ 56 w 1369"/>
                  <a:gd name="T65" fmla="*/ 339 h 1519"/>
                  <a:gd name="T66" fmla="*/ 85 w 1369"/>
                  <a:gd name="T67" fmla="*/ 318 h 1519"/>
                  <a:gd name="T68" fmla="*/ 599 w 1369"/>
                  <a:gd name="T69" fmla="*/ 21 h 1519"/>
                  <a:gd name="T70" fmla="*/ 632 w 1369"/>
                  <a:gd name="T71" fmla="*/ 7 h 1519"/>
                  <a:gd name="T72" fmla="*/ 668 w 1369"/>
                  <a:gd name="T73" fmla="*/ 0 h 1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369" h="1519">
                    <a:moveTo>
                      <a:pt x="668" y="0"/>
                    </a:moveTo>
                    <a:lnTo>
                      <a:pt x="702" y="0"/>
                    </a:lnTo>
                    <a:lnTo>
                      <a:pt x="736" y="7"/>
                    </a:lnTo>
                    <a:lnTo>
                      <a:pt x="768" y="21"/>
                    </a:lnTo>
                    <a:lnTo>
                      <a:pt x="1284" y="318"/>
                    </a:lnTo>
                    <a:lnTo>
                      <a:pt x="1313" y="339"/>
                    </a:lnTo>
                    <a:lnTo>
                      <a:pt x="1337" y="364"/>
                    </a:lnTo>
                    <a:lnTo>
                      <a:pt x="1354" y="395"/>
                    </a:lnTo>
                    <a:lnTo>
                      <a:pt x="1364" y="429"/>
                    </a:lnTo>
                    <a:lnTo>
                      <a:pt x="1369" y="465"/>
                    </a:lnTo>
                    <a:lnTo>
                      <a:pt x="1369" y="1054"/>
                    </a:lnTo>
                    <a:lnTo>
                      <a:pt x="1364" y="1090"/>
                    </a:lnTo>
                    <a:lnTo>
                      <a:pt x="1354" y="1124"/>
                    </a:lnTo>
                    <a:lnTo>
                      <a:pt x="1337" y="1154"/>
                    </a:lnTo>
                    <a:lnTo>
                      <a:pt x="1313" y="1181"/>
                    </a:lnTo>
                    <a:lnTo>
                      <a:pt x="1284" y="1201"/>
                    </a:lnTo>
                    <a:lnTo>
                      <a:pt x="768" y="1497"/>
                    </a:lnTo>
                    <a:lnTo>
                      <a:pt x="736" y="1512"/>
                    </a:lnTo>
                    <a:lnTo>
                      <a:pt x="702" y="1519"/>
                    </a:lnTo>
                    <a:lnTo>
                      <a:pt x="668" y="1519"/>
                    </a:lnTo>
                    <a:lnTo>
                      <a:pt x="632" y="1512"/>
                    </a:lnTo>
                    <a:lnTo>
                      <a:pt x="599" y="1497"/>
                    </a:lnTo>
                    <a:lnTo>
                      <a:pt x="85" y="1201"/>
                    </a:lnTo>
                    <a:lnTo>
                      <a:pt x="56" y="1181"/>
                    </a:lnTo>
                    <a:lnTo>
                      <a:pt x="32" y="1154"/>
                    </a:lnTo>
                    <a:lnTo>
                      <a:pt x="15" y="1124"/>
                    </a:lnTo>
                    <a:lnTo>
                      <a:pt x="3" y="1090"/>
                    </a:lnTo>
                    <a:lnTo>
                      <a:pt x="0" y="1054"/>
                    </a:lnTo>
                    <a:lnTo>
                      <a:pt x="0" y="465"/>
                    </a:lnTo>
                    <a:lnTo>
                      <a:pt x="3" y="429"/>
                    </a:lnTo>
                    <a:lnTo>
                      <a:pt x="15" y="395"/>
                    </a:lnTo>
                    <a:lnTo>
                      <a:pt x="32" y="364"/>
                    </a:lnTo>
                    <a:lnTo>
                      <a:pt x="56" y="339"/>
                    </a:lnTo>
                    <a:lnTo>
                      <a:pt x="85" y="318"/>
                    </a:lnTo>
                    <a:lnTo>
                      <a:pt x="599" y="21"/>
                    </a:lnTo>
                    <a:lnTo>
                      <a:pt x="632" y="7"/>
                    </a:lnTo>
                    <a:lnTo>
                      <a:pt x="668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endParaRPr lang="ru-RU" sz="1600" i="1" u="sng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14479D55-055F-476C-9755-7122845133E2}"/>
                  </a:ext>
                </a:extLst>
              </p:cNvPr>
              <p:cNvSpPr/>
              <p:nvPr/>
            </p:nvSpPr>
            <p:spPr>
              <a:xfrm>
                <a:off x="3738225" y="3463712"/>
                <a:ext cx="452697" cy="336976"/>
              </a:xfrm>
              <a:custGeom>
                <a:avLst/>
                <a:gdLst>
                  <a:gd name="connsiteX0" fmla="*/ 353056 w 608415"/>
                  <a:gd name="connsiteY0" fmla="*/ 250650 h 452889"/>
                  <a:gd name="connsiteX1" fmla="*/ 353056 w 608415"/>
                  <a:gd name="connsiteY1" fmla="*/ 305575 h 452889"/>
                  <a:gd name="connsiteX2" fmla="*/ 380101 w 608415"/>
                  <a:gd name="connsiteY2" fmla="*/ 278113 h 452889"/>
                  <a:gd name="connsiteX3" fmla="*/ 353056 w 608415"/>
                  <a:gd name="connsiteY3" fmla="*/ 250650 h 452889"/>
                  <a:gd name="connsiteX4" fmla="*/ 311106 w 608415"/>
                  <a:gd name="connsiteY4" fmla="*/ 147244 h 452889"/>
                  <a:gd name="connsiteX5" fmla="*/ 284061 w 608415"/>
                  <a:gd name="connsiteY5" fmla="*/ 174706 h 452889"/>
                  <a:gd name="connsiteX6" fmla="*/ 311106 w 608415"/>
                  <a:gd name="connsiteY6" fmla="*/ 202169 h 452889"/>
                  <a:gd name="connsiteX7" fmla="*/ 332158 w 608415"/>
                  <a:gd name="connsiteY7" fmla="*/ 63015 h 452889"/>
                  <a:gd name="connsiteX8" fmla="*/ 353056 w 608415"/>
                  <a:gd name="connsiteY8" fmla="*/ 83880 h 452889"/>
                  <a:gd name="connsiteX9" fmla="*/ 353056 w 608415"/>
                  <a:gd name="connsiteY9" fmla="*/ 104132 h 452889"/>
                  <a:gd name="connsiteX10" fmla="*/ 422052 w 608415"/>
                  <a:gd name="connsiteY10" fmla="*/ 174706 h 452889"/>
                  <a:gd name="connsiteX11" fmla="*/ 401000 w 608415"/>
                  <a:gd name="connsiteY11" fmla="*/ 195725 h 452889"/>
                  <a:gd name="connsiteX12" fmla="*/ 380101 w 608415"/>
                  <a:gd name="connsiteY12" fmla="*/ 174706 h 452889"/>
                  <a:gd name="connsiteX13" fmla="*/ 353056 w 608415"/>
                  <a:gd name="connsiteY13" fmla="*/ 147244 h 452889"/>
                  <a:gd name="connsiteX14" fmla="*/ 353056 w 608415"/>
                  <a:gd name="connsiteY14" fmla="*/ 207539 h 452889"/>
                  <a:gd name="connsiteX15" fmla="*/ 422052 w 608415"/>
                  <a:gd name="connsiteY15" fmla="*/ 278113 h 452889"/>
                  <a:gd name="connsiteX16" fmla="*/ 353056 w 608415"/>
                  <a:gd name="connsiteY16" fmla="*/ 348687 h 452889"/>
                  <a:gd name="connsiteX17" fmla="*/ 353056 w 608415"/>
                  <a:gd name="connsiteY17" fmla="*/ 368939 h 452889"/>
                  <a:gd name="connsiteX18" fmla="*/ 332158 w 608415"/>
                  <a:gd name="connsiteY18" fmla="*/ 389804 h 452889"/>
                  <a:gd name="connsiteX19" fmla="*/ 311106 w 608415"/>
                  <a:gd name="connsiteY19" fmla="*/ 368939 h 452889"/>
                  <a:gd name="connsiteX20" fmla="*/ 311106 w 608415"/>
                  <a:gd name="connsiteY20" fmla="*/ 348687 h 452889"/>
                  <a:gd name="connsiteX21" fmla="*/ 242110 w 608415"/>
                  <a:gd name="connsiteY21" fmla="*/ 278113 h 452889"/>
                  <a:gd name="connsiteX22" fmla="*/ 263162 w 608415"/>
                  <a:gd name="connsiteY22" fmla="*/ 257094 h 452889"/>
                  <a:gd name="connsiteX23" fmla="*/ 284061 w 608415"/>
                  <a:gd name="connsiteY23" fmla="*/ 278113 h 452889"/>
                  <a:gd name="connsiteX24" fmla="*/ 311106 w 608415"/>
                  <a:gd name="connsiteY24" fmla="*/ 305575 h 452889"/>
                  <a:gd name="connsiteX25" fmla="*/ 311106 w 608415"/>
                  <a:gd name="connsiteY25" fmla="*/ 245280 h 452889"/>
                  <a:gd name="connsiteX26" fmla="*/ 242110 w 608415"/>
                  <a:gd name="connsiteY26" fmla="*/ 174706 h 452889"/>
                  <a:gd name="connsiteX27" fmla="*/ 311106 w 608415"/>
                  <a:gd name="connsiteY27" fmla="*/ 104132 h 452889"/>
                  <a:gd name="connsiteX28" fmla="*/ 311106 w 608415"/>
                  <a:gd name="connsiteY28" fmla="*/ 83880 h 452889"/>
                  <a:gd name="connsiteX29" fmla="*/ 332158 w 608415"/>
                  <a:gd name="connsiteY29" fmla="*/ 63015 h 452889"/>
                  <a:gd name="connsiteX30" fmla="*/ 55464 w 608415"/>
                  <a:gd name="connsiteY30" fmla="*/ 0 h 452889"/>
                  <a:gd name="connsiteX31" fmla="*/ 587520 w 608415"/>
                  <a:gd name="connsiteY31" fmla="*/ 0 h 452889"/>
                  <a:gd name="connsiteX32" fmla="*/ 608415 w 608415"/>
                  <a:gd name="connsiteY32" fmla="*/ 21018 h 452889"/>
                  <a:gd name="connsiteX33" fmla="*/ 608415 w 608415"/>
                  <a:gd name="connsiteY33" fmla="*/ 431871 h 452889"/>
                  <a:gd name="connsiteX34" fmla="*/ 587520 w 608415"/>
                  <a:gd name="connsiteY34" fmla="*/ 452889 h 452889"/>
                  <a:gd name="connsiteX35" fmla="*/ 120454 w 608415"/>
                  <a:gd name="connsiteY35" fmla="*/ 452889 h 452889"/>
                  <a:gd name="connsiteX36" fmla="*/ 0 w 608415"/>
                  <a:gd name="connsiteY36" fmla="*/ 332610 h 452889"/>
                  <a:gd name="connsiteX37" fmla="*/ 87421 w 608415"/>
                  <a:gd name="connsiteY37" fmla="*/ 216933 h 452889"/>
                  <a:gd name="connsiteX38" fmla="*/ 66373 w 608415"/>
                  <a:gd name="connsiteY38" fmla="*/ 202205 h 452889"/>
                  <a:gd name="connsiteX39" fmla="*/ 61302 w 608415"/>
                  <a:gd name="connsiteY39" fmla="*/ 173209 h 452889"/>
                  <a:gd name="connsiteX40" fmla="*/ 90340 w 608415"/>
                  <a:gd name="connsiteY40" fmla="*/ 167992 h 452889"/>
                  <a:gd name="connsiteX41" fmla="*/ 153179 w 608415"/>
                  <a:gd name="connsiteY41" fmla="*/ 211870 h 452889"/>
                  <a:gd name="connsiteX42" fmla="*/ 161783 w 608415"/>
                  <a:gd name="connsiteY42" fmla="*/ 225371 h 452889"/>
                  <a:gd name="connsiteX43" fmla="*/ 158403 w 608415"/>
                  <a:gd name="connsiteY43" fmla="*/ 241019 h 452889"/>
                  <a:gd name="connsiteX44" fmla="*/ 114308 w 608415"/>
                  <a:gd name="connsiteY44" fmla="*/ 303767 h 452889"/>
                  <a:gd name="connsiteX45" fmla="*/ 97254 w 608415"/>
                  <a:gd name="connsiteY45" fmla="*/ 312665 h 452889"/>
                  <a:gd name="connsiteX46" fmla="*/ 85270 w 608415"/>
                  <a:gd name="connsiteY46" fmla="*/ 308983 h 452889"/>
                  <a:gd name="connsiteX47" fmla="*/ 80047 w 608415"/>
                  <a:gd name="connsiteY47" fmla="*/ 279834 h 452889"/>
                  <a:gd name="connsiteX48" fmla="*/ 95103 w 608415"/>
                  <a:gd name="connsiteY48" fmla="*/ 258355 h 452889"/>
                  <a:gd name="connsiteX49" fmla="*/ 41944 w 608415"/>
                  <a:gd name="connsiteY49" fmla="*/ 332610 h 452889"/>
                  <a:gd name="connsiteX50" fmla="*/ 120454 w 608415"/>
                  <a:gd name="connsiteY50" fmla="*/ 411006 h 452889"/>
                  <a:gd name="connsiteX51" fmla="*/ 566471 w 608415"/>
                  <a:gd name="connsiteY51" fmla="*/ 411006 h 452889"/>
                  <a:gd name="connsiteX52" fmla="*/ 566471 w 608415"/>
                  <a:gd name="connsiteY52" fmla="*/ 41883 h 452889"/>
                  <a:gd name="connsiteX53" fmla="*/ 55464 w 608415"/>
                  <a:gd name="connsiteY53" fmla="*/ 41883 h 452889"/>
                  <a:gd name="connsiteX54" fmla="*/ 34569 w 608415"/>
                  <a:gd name="connsiteY54" fmla="*/ 21018 h 452889"/>
                  <a:gd name="connsiteX55" fmla="*/ 55464 w 608415"/>
                  <a:gd name="connsiteY55" fmla="*/ 0 h 452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608415" h="452889">
                    <a:moveTo>
                      <a:pt x="353056" y="250650"/>
                    </a:moveTo>
                    <a:lnTo>
                      <a:pt x="353056" y="305575"/>
                    </a:lnTo>
                    <a:cubicBezTo>
                      <a:pt x="368730" y="300359"/>
                      <a:pt x="380101" y="289773"/>
                      <a:pt x="380101" y="278113"/>
                    </a:cubicBezTo>
                    <a:cubicBezTo>
                      <a:pt x="380101" y="266453"/>
                      <a:pt x="368730" y="255867"/>
                      <a:pt x="353056" y="250650"/>
                    </a:cubicBezTo>
                    <a:close/>
                    <a:moveTo>
                      <a:pt x="311106" y="147244"/>
                    </a:moveTo>
                    <a:cubicBezTo>
                      <a:pt x="295432" y="152460"/>
                      <a:pt x="284061" y="163046"/>
                      <a:pt x="284061" y="174706"/>
                    </a:cubicBezTo>
                    <a:cubicBezTo>
                      <a:pt x="284061" y="186366"/>
                      <a:pt x="295432" y="196952"/>
                      <a:pt x="311106" y="202169"/>
                    </a:cubicBezTo>
                    <a:close/>
                    <a:moveTo>
                      <a:pt x="332158" y="63015"/>
                    </a:moveTo>
                    <a:cubicBezTo>
                      <a:pt x="343683" y="63015"/>
                      <a:pt x="353056" y="72374"/>
                      <a:pt x="353056" y="83880"/>
                    </a:cubicBezTo>
                    <a:lnTo>
                      <a:pt x="353056" y="104132"/>
                    </a:lnTo>
                    <a:cubicBezTo>
                      <a:pt x="392548" y="111803"/>
                      <a:pt x="422052" y="140493"/>
                      <a:pt x="422052" y="174706"/>
                    </a:cubicBezTo>
                    <a:cubicBezTo>
                      <a:pt x="422052" y="186366"/>
                      <a:pt x="412678" y="195725"/>
                      <a:pt x="401000" y="195725"/>
                    </a:cubicBezTo>
                    <a:cubicBezTo>
                      <a:pt x="389475" y="195725"/>
                      <a:pt x="380101" y="186366"/>
                      <a:pt x="380101" y="174706"/>
                    </a:cubicBezTo>
                    <a:cubicBezTo>
                      <a:pt x="380101" y="163046"/>
                      <a:pt x="368730" y="152460"/>
                      <a:pt x="353056" y="147244"/>
                    </a:cubicBezTo>
                    <a:lnTo>
                      <a:pt x="353056" y="207539"/>
                    </a:lnTo>
                    <a:cubicBezTo>
                      <a:pt x="392548" y="215210"/>
                      <a:pt x="422052" y="243900"/>
                      <a:pt x="422052" y="278113"/>
                    </a:cubicBezTo>
                    <a:cubicBezTo>
                      <a:pt x="422052" y="312326"/>
                      <a:pt x="392548" y="341016"/>
                      <a:pt x="353056" y="348687"/>
                    </a:cubicBezTo>
                    <a:lnTo>
                      <a:pt x="353056" y="368939"/>
                    </a:lnTo>
                    <a:cubicBezTo>
                      <a:pt x="353056" y="380445"/>
                      <a:pt x="343683" y="389804"/>
                      <a:pt x="332158" y="389804"/>
                    </a:cubicBezTo>
                    <a:cubicBezTo>
                      <a:pt x="320479" y="389804"/>
                      <a:pt x="311106" y="380445"/>
                      <a:pt x="311106" y="368939"/>
                    </a:cubicBezTo>
                    <a:lnTo>
                      <a:pt x="311106" y="348687"/>
                    </a:lnTo>
                    <a:cubicBezTo>
                      <a:pt x="271614" y="341016"/>
                      <a:pt x="242110" y="312326"/>
                      <a:pt x="242110" y="278113"/>
                    </a:cubicBezTo>
                    <a:cubicBezTo>
                      <a:pt x="242110" y="266453"/>
                      <a:pt x="251484" y="257094"/>
                      <a:pt x="263162" y="257094"/>
                    </a:cubicBezTo>
                    <a:cubicBezTo>
                      <a:pt x="274687" y="257094"/>
                      <a:pt x="284061" y="266453"/>
                      <a:pt x="284061" y="278113"/>
                    </a:cubicBezTo>
                    <a:cubicBezTo>
                      <a:pt x="284061" y="289773"/>
                      <a:pt x="295432" y="300359"/>
                      <a:pt x="311106" y="305575"/>
                    </a:cubicBezTo>
                    <a:lnTo>
                      <a:pt x="311106" y="245280"/>
                    </a:lnTo>
                    <a:cubicBezTo>
                      <a:pt x="271614" y="237609"/>
                      <a:pt x="242110" y="208919"/>
                      <a:pt x="242110" y="174706"/>
                    </a:cubicBezTo>
                    <a:cubicBezTo>
                      <a:pt x="242110" y="140493"/>
                      <a:pt x="271614" y="111803"/>
                      <a:pt x="311106" y="104132"/>
                    </a:cubicBezTo>
                    <a:lnTo>
                      <a:pt x="311106" y="83880"/>
                    </a:lnTo>
                    <a:cubicBezTo>
                      <a:pt x="311106" y="72374"/>
                      <a:pt x="320479" y="63015"/>
                      <a:pt x="332158" y="63015"/>
                    </a:cubicBezTo>
                    <a:close/>
                    <a:moveTo>
                      <a:pt x="55464" y="0"/>
                    </a:moveTo>
                    <a:lnTo>
                      <a:pt x="587520" y="0"/>
                    </a:lnTo>
                    <a:cubicBezTo>
                      <a:pt x="599043" y="0"/>
                      <a:pt x="608415" y="9358"/>
                      <a:pt x="608415" y="21018"/>
                    </a:cubicBezTo>
                    <a:lnTo>
                      <a:pt x="608415" y="431871"/>
                    </a:lnTo>
                    <a:cubicBezTo>
                      <a:pt x="608415" y="443531"/>
                      <a:pt x="599043" y="452889"/>
                      <a:pt x="587520" y="452889"/>
                    </a:cubicBezTo>
                    <a:lnTo>
                      <a:pt x="120454" y="452889"/>
                    </a:lnTo>
                    <a:cubicBezTo>
                      <a:pt x="54081" y="452889"/>
                      <a:pt x="0" y="398886"/>
                      <a:pt x="0" y="332610"/>
                    </a:cubicBezTo>
                    <a:cubicBezTo>
                      <a:pt x="0" y="277686"/>
                      <a:pt x="37027" y="231354"/>
                      <a:pt x="87421" y="216933"/>
                    </a:cubicBezTo>
                    <a:lnTo>
                      <a:pt x="66373" y="202205"/>
                    </a:lnTo>
                    <a:cubicBezTo>
                      <a:pt x="56847" y="195608"/>
                      <a:pt x="54542" y="182567"/>
                      <a:pt x="61302" y="173209"/>
                    </a:cubicBezTo>
                    <a:cubicBezTo>
                      <a:pt x="67909" y="163697"/>
                      <a:pt x="80968" y="161395"/>
                      <a:pt x="90340" y="167992"/>
                    </a:cubicBezTo>
                    <a:lnTo>
                      <a:pt x="153179" y="211870"/>
                    </a:lnTo>
                    <a:cubicBezTo>
                      <a:pt x="157788" y="215092"/>
                      <a:pt x="160861" y="220001"/>
                      <a:pt x="161783" y="225371"/>
                    </a:cubicBezTo>
                    <a:cubicBezTo>
                      <a:pt x="162859" y="230894"/>
                      <a:pt x="161629" y="236570"/>
                      <a:pt x="158403" y="241019"/>
                    </a:cubicBezTo>
                    <a:lnTo>
                      <a:pt x="114308" y="303767"/>
                    </a:lnTo>
                    <a:cubicBezTo>
                      <a:pt x="110314" y="309597"/>
                      <a:pt x="103861" y="312665"/>
                      <a:pt x="97254" y="312665"/>
                    </a:cubicBezTo>
                    <a:cubicBezTo>
                      <a:pt x="93106" y="312665"/>
                      <a:pt x="88804" y="311438"/>
                      <a:pt x="85270" y="308983"/>
                    </a:cubicBezTo>
                    <a:cubicBezTo>
                      <a:pt x="75745" y="302386"/>
                      <a:pt x="73440" y="289346"/>
                      <a:pt x="80047" y="279834"/>
                    </a:cubicBezTo>
                    <a:lnTo>
                      <a:pt x="95103" y="258355"/>
                    </a:lnTo>
                    <a:cubicBezTo>
                      <a:pt x="64222" y="268941"/>
                      <a:pt x="41944" y="298244"/>
                      <a:pt x="41944" y="332610"/>
                    </a:cubicBezTo>
                    <a:cubicBezTo>
                      <a:pt x="41944" y="375873"/>
                      <a:pt x="77127" y="411006"/>
                      <a:pt x="120454" y="411006"/>
                    </a:cubicBezTo>
                    <a:lnTo>
                      <a:pt x="566471" y="411006"/>
                    </a:lnTo>
                    <a:lnTo>
                      <a:pt x="566471" y="41883"/>
                    </a:lnTo>
                    <a:lnTo>
                      <a:pt x="55464" y="41883"/>
                    </a:lnTo>
                    <a:cubicBezTo>
                      <a:pt x="43941" y="41883"/>
                      <a:pt x="34569" y="32525"/>
                      <a:pt x="34569" y="21018"/>
                    </a:cubicBezTo>
                    <a:cubicBezTo>
                      <a:pt x="34569" y="9358"/>
                      <a:pt x="43941" y="0"/>
                      <a:pt x="55464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5DFF9D6B-EAE2-44AD-AAD6-3365DA00273E}"/>
                </a:ext>
              </a:extLst>
            </p:cNvPr>
            <p:cNvGrpSpPr/>
            <p:nvPr/>
          </p:nvGrpSpPr>
          <p:grpSpPr>
            <a:xfrm>
              <a:off x="5622107" y="3113430"/>
              <a:ext cx="935086" cy="1037540"/>
              <a:chOff x="5622109" y="3113430"/>
              <a:chExt cx="935086" cy="1037540"/>
            </a:xfrm>
          </p:grpSpPr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3770D6EC-BF05-4004-820A-C98BDA8EEFCC}"/>
                  </a:ext>
                </a:extLst>
              </p:cNvPr>
              <p:cNvSpPr/>
              <p:nvPr/>
            </p:nvSpPr>
            <p:spPr bwMode="auto">
              <a:xfrm>
                <a:off x="5622109" y="3113430"/>
                <a:ext cx="935086" cy="1037540"/>
              </a:xfrm>
              <a:custGeom>
                <a:avLst/>
                <a:gdLst>
                  <a:gd name="T0" fmla="*/ 668 w 1369"/>
                  <a:gd name="T1" fmla="*/ 0 h 1519"/>
                  <a:gd name="T2" fmla="*/ 702 w 1369"/>
                  <a:gd name="T3" fmla="*/ 0 h 1519"/>
                  <a:gd name="T4" fmla="*/ 736 w 1369"/>
                  <a:gd name="T5" fmla="*/ 7 h 1519"/>
                  <a:gd name="T6" fmla="*/ 768 w 1369"/>
                  <a:gd name="T7" fmla="*/ 21 h 1519"/>
                  <a:gd name="T8" fmla="*/ 1284 w 1369"/>
                  <a:gd name="T9" fmla="*/ 318 h 1519"/>
                  <a:gd name="T10" fmla="*/ 1313 w 1369"/>
                  <a:gd name="T11" fmla="*/ 339 h 1519"/>
                  <a:gd name="T12" fmla="*/ 1337 w 1369"/>
                  <a:gd name="T13" fmla="*/ 364 h 1519"/>
                  <a:gd name="T14" fmla="*/ 1354 w 1369"/>
                  <a:gd name="T15" fmla="*/ 395 h 1519"/>
                  <a:gd name="T16" fmla="*/ 1364 w 1369"/>
                  <a:gd name="T17" fmla="*/ 429 h 1519"/>
                  <a:gd name="T18" fmla="*/ 1369 w 1369"/>
                  <a:gd name="T19" fmla="*/ 465 h 1519"/>
                  <a:gd name="T20" fmla="*/ 1369 w 1369"/>
                  <a:gd name="T21" fmla="*/ 1054 h 1519"/>
                  <a:gd name="T22" fmla="*/ 1364 w 1369"/>
                  <a:gd name="T23" fmla="*/ 1090 h 1519"/>
                  <a:gd name="T24" fmla="*/ 1354 w 1369"/>
                  <a:gd name="T25" fmla="*/ 1124 h 1519"/>
                  <a:gd name="T26" fmla="*/ 1337 w 1369"/>
                  <a:gd name="T27" fmla="*/ 1154 h 1519"/>
                  <a:gd name="T28" fmla="*/ 1313 w 1369"/>
                  <a:gd name="T29" fmla="*/ 1181 h 1519"/>
                  <a:gd name="T30" fmla="*/ 1284 w 1369"/>
                  <a:gd name="T31" fmla="*/ 1201 h 1519"/>
                  <a:gd name="T32" fmla="*/ 768 w 1369"/>
                  <a:gd name="T33" fmla="*/ 1497 h 1519"/>
                  <a:gd name="T34" fmla="*/ 736 w 1369"/>
                  <a:gd name="T35" fmla="*/ 1512 h 1519"/>
                  <a:gd name="T36" fmla="*/ 702 w 1369"/>
                  <a:gd name="T37" fmla="*/ 1519 h 1519"/>
                  <a:gd name="T38" fmla="*/ 668 w 1369"/>
                  <a:gd name="T39" fmla="*/ 1519 h 1519"/>
                  <a:gd name="T40" fmla="*/ 632 w 1369"/>
                  <a:gd name="T41" fmla="*/ 1512 h 1519"/>
                  <a:gd name="T42" fmla="*/ 599 w 1369"/>
                  <a:gd name="T43" fmla="*/ 1497 h 1519"/>
                  <a:gd name="T44" fmla="*/ 85 w 1369"/>
                  <a:gd name="T45" fmla="*/ 1201 h 1519"/>
                  <a:gd name="T46" fmla="*/ 56 w 1369"/>
                  <a:gd name="T47" fmla="*/ 1181 h 1519"/>
                  <a:gd name="T48" fmla="*/ 32 w 1369"/>
                  <a:gd name="T49" fmla="*/ 1154 h 1519"/>
                  <a:gd name="T50" fmla="*/ 15 w 1369"/>
                  <a:gd name="T51" fmla="*/ 1124 h 1519"/>
                  <a:gd name="T52" fmla="*/ 3 w 1369"/>
                  <a:gd name="T53" fmla="*/ 1090 h 1519"/>
                  <a:gd name="T54" fmla="*/ 0 w 1369"/>
                  <a:gd name="T55" fmla="*/ 1054 h 1519"/>
                  <a:gd name="T56" fmla="*/ 0 w 1369"/>
                  <a:gd name="T57" fmla="*/ 465 h 1519"/>
                  <a:gd name="T58" fmla="*/ 3 w 1369"/>
                  <a:gd name="T59" fmla="*/ 429 h 1519"/>
                  <a:gd name="T60" fmla="*/ 15 w 1369"/>
                  <a:gd name="T61" fmla="*/ 395 h 1519"/>
                  <a:gd name="T62" fmla="*/ 32 w 1369"/>
                  <a:gd name="T63" fmla="*/ 364 h 1519"/>
                  <a:gd name="T64" fmla="*/ 56 w 1369"/>
                  <a:gd name="T65" fmla="*/ 339 h 1519"/>
                  <a:gd name="T66" fmla="*/ 85 w 1369"/>
                  <a:gd name="T67" fmla="*/ 318 h 1519"/>
                  <a:gd name="T68" fmla="*/ 599 w 1369"/>
                  <a:gd name="T69" fmla="*/ 21 h 1519"/>
                  <a:gd name="T70" fmla="*/ 632 w 1369"/>
                  <a:gd name="T71" fmla="*/ 7 h 1519"/>
                  <a:gd name="T72" fmla="*/ 668 w 1369"/>
                  <a:gd name="T73" fmla="*/ 0 h 1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369" h="1519">
                    <a:moveTo>
                      <a:pt x="668" y="0"/>
                    </a:moveTo>
                    <a:lnTo>
                      <a:pt x="702" y="0"/>
                    </a:lnTo>
                    <a:lnTo>
                      <a:pt x="736" y="7"/>
                    </a:lnTo>
                    <a:lnTo>
                      <a:pt x="768" y="21"/>
                    </a:lnTo>
                    <a:lnTo>
                      <a:pt x="1284" y="318"/>
                    </a:lnTo>
                    <a:lnTo>
                      <a:pt x="1313" y="339"/>
                    </a:lnTo>
                    <a:lnTo>
                      <a:pt x="1337" y="364"/>
                    </a:lnTo>
                    <a:lnTo>
                      <a:pt x="1354" y="395"/>
                    </a:lnTo>
                    <a:lnTo>
                      <a:pt x="1364" y="429"/>
                    </a:lnTo>
                    <a:lnTo>
                      <a:pt x="1369" y="465"/>
                    </a:lnTo>
                    <a:lnTo>
                      <a:pt x="1369" y="1054"/>
                    </a:lnTo>
                    <a:lnTo>
                      <a:pt x="1364" y="1090"/>
                    </a:lnTo>
                    <a:lnTo>
                      <a:pt x="1354" y="1124"/>
                    </a:lnTo>
                    <a:lnTo>
                      <a:pt x="1337" y="1154"/>
                    </a:lnTo>
                    <a:lnTo>
                      <a:pt x="1313" y="1181"/>
                    </a:lnTo>
                    <a:lnTo>
                      <a:pt x="1284" y="1201"/>
                    </a:lnTo>
                    <a:lnTo>
                      <a:pt x="768" y="1497"/>
                    </a:lnTo>
                    <a:lnTo>
                      <a:pt x="736" y="1512"/>
                    </a:lnTo>
                    <a:lnTo>
                      <a:pt x="702" y="1519"/>
                    </a:lnTo>
                    <a:lnTo>
                      <a:pt x="668" y="1519"/>
                    </a:lnTo>
                    <a:lnTo>
                      <a:pt x="632" y="1512"/>
                    </a:lnTo>
                    <a:lnTo>
                      <a:pt x="599" y="1497"/>
                    </a:lnTo>
                    <a:lnTo>
                      <a:pt x="85" y="1201"/>
                    </a:lnTo>
                    <a:lnTo>
                      <a:pt x="56" y="1181"/>
                    </a:lnTo>
                    <a:lnTo>
                      <a:pt x="32" y="1154"/>
                    </a:lnTo>
                    <a:lnTo>
                      <a:pt x="15" y="1124"/>
                    </a:lnTo>
                    <a:lnTo>
                      <a:pt x="3" y="1090"/>
                    </a:lnTo>
                    <a:lnTo>
                      <a:pt x="0" y="1054"/>
                    </a:lnTo>
                    <a:lnTo>
                      <a:pt x="0" y="465"/>
                    </a:lnTo>
                    <a:lnTo>
                      <a:pt x="3" y="429"/>
                    </a:lnTo>
                    <a:lnTo>
                      <a:pt x="15" y="395"/>
                    </a:lnTo>
                    <a:lnTo>
                      <a:pt x="32" y="364"/>
                    </a:lnTo>
                    <a:lnTo>
                      <a:pt x="56" y="339"/>
                    </a:lnTo>
                    <a:lnTo>
                      <a:pt x="85" y="318"/>
                    </a:lnTo>
                    <a:lnTo>
                      <a:pt x="599" y="21"/>
                    </a:lnTo>
                    <a:lnTo>
                      <a:pt x="632" y="7"/>
                    </a:lnTo>
                    <a:lnTo>
                      <a:pt x="668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endParaRPr lang="ru-RU" sz="1600" i="1" u="sng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269784E7-C4FA-43DA-9D90-349005B68D95}"/>
                  </a:ext>
                </a:extLst>
              </p:cNvPr>
              <p:cNvSpPr/>
              <p:nvPr/>
            </p:nvSpPr>
            <p:spPr>
              <a:xfrm>
                <a:off x="5863303" y="3406186"/>
                <a:ext cx="452698" cy="452029"/>
              </a:xfrm>
              <a:custGeom>
                <a:avLst/>
                <a:gdLst>
                  <a:gd name="connsiteX0" fmla="*/ 414666 w 606487"/>
                  <a:gd name="connsiteY0" fmla="*/ 244368 h 605592"/>
                  <a:gd name="connsiteX1" fmla="*/ 440469 w 606487"/>
                  <a:gd name="connsiteY1" fmla="*/ 270042 h 605592"/>
                  <a:gd name="connsiteX2" fmla="*/ 440469 w 606487"/>
                  <a:gd name="connsiteY2" fmla="*/ 381912 h 605592"/>
                  <a:gd name="connsiteX3" fmla="*/ 414666 w 606487"/>
                  <a:gd name="connsiteY3" fmla="*/ 407586 h 605592"/>
                  <a:gd name="connsiteX4" fmla="*/ 388956 w 606487"/>
                  <a:gd name="connsiteY4" fmla="*/ 381912 h 605592"/>
                  <a:gd name="connsiteX5" fmla="*/ 388956 w 606487"/>
                  <a:gd name="connsiteY5" fmla="*/ 270042 h 605592"/>
                  <a:gd name="connsiteX6" fmla="*/ 414666 w 606487"/>
                  <a:gd name="connsiteY6" fmla="*/ 244368 h 605592"/>
                  <a:gd name="connsiteX7" fmla="*/ 302702 w 606487"/>
                  <a:gd name="connsiteY7" fmla="*/ 167240 h 605592"/>
                  <a:gd name="connsiteX8" fmla="*/ 328412 w 606487"/>
                  <a:gd name="connsiteY8" fmla="*/ 192915 h 605592"/>
                  <a:gd name="connsiteX9" fmla="*/ 328412 w 606487"/>
                  <a:gd name="connsiteY9" fmla="*/ 381911 h 605592"/>
                  <a:gd name="connsiteX10" fmla="*/ 302702 w 606487"/>
                  <a:gd name="connsiteY10" fmla="*/ 407586 h 605592"/>
                  <a:gd name="connsiteX11" fmla="*/ 276899 w 606487"/>
                  <a:gd name="connsiteY11" fmla="*/ 381911 h 605592"/>
                  <a:gd name="connsiteX12" fmla="*/ 276899 w 606487"/>
                  <a:gd name="connsiteY12" fmla="*/ 192915 h 605592"/>
                  <a:gd name="connsiteX13" fmla="*/ 302702 w 606487"/>
                  <a:gd name="connsiteY13" fmla="*/ 167240 h 605592"/>
                  <a:gd name="connsiteX14" fmla="*/ 190632 w 606487"/>
                  <a:gd name="connsiteY14" fmla="*/ 107965 h 605592"/>
                  <a:gd name="connsiteX15" fmla="*/ 216353 w 606487"/>
                  <a:gd name="connsiteY15" fmla="*/ 133737 h 605592"/>
                  <a:gd name="connsiteX16" fmla="*/ 216353 w 606487"/>
                  <a:gd name="connsiteY16" fmla="*/ 381907 h 605592"/>
                  <a:gd name="connsiteX17" fmla="*/ 190632 w 606487"/>
                  <a:gd name="connsiteY17" fmla="*/ 407586 h 605592"/>
                  <a:gd name="connsiteX18" fmla="*/ 164911 w 606487"/>
                  <a:gd name="connsiteY18" fmla="*/ 381907 h 605592"/>
                  <a:gd name="connsiteX19" fmla="*/ 164911 w 606487"/>
                  <a:gd name="connsiteY19" fmla="*/ 133737 h 605592"/>
                  <a:gd name="connsiteX20" fmla="*/ 190632 w 606487"/>
                  <a:gd name="connsiteY20" fmla="*/ 107965 h 605592"/>
                  <a:gd name="connsiteX21" fmla="*/ 86256 w 606487"/>
                  <a:gd name="connsiteY21" fmla="*/ 51447 h 605592"/>
                  <a:gd name="connsiteX22" fmla="*/ 86256 w 606487"/>
                  <a:gd name="connsiteY22" fmla="*/ 464229 h 605592"/>
                  <a:gd name="connsiteX23" fmla="*/ 517724 w 606487"/>
                  <a:gd name="connsiteY23" fmla="*/ 464229 h 605592"/>
                  <a:gd name="connsiteX24" fmla="*/ 517724 w 606487"/>
                  <a:gd name="connsiteY24" fmla="*/ 51447 h 605592"/>
                  <a:gd name="connsiteX25" fmla="*/ 25719 w 606487"/>
                  <a:gd name="connsiteY25" fmla="*/ 0 h 605592"/>
                  <a:gd name="connsiteX26" fmla="*/ 580861 w 606487"/>
                  <a:gd name="connsiteY26" fmla="*/ 0 h 605592"/>
                  <a:gd name="connsiteX27" fmla="*/ 606487 w 606487"/>
                  <a:gd name="connsiteY27" fmla="*/ 25677 h 605592"/>
                  <a:gd name="connsiteX28" fmla="*/ 579468 w 606487"/>
                  <a:gd name="connsiteY28" fmla="*/ 51447 h 605592"/>
                  <a:gd name="connsiteX29" fmla="*/ 569162 w 606487"/>
                  <a:gd name="connsiteY29" fmla="*/ 51447 h 605592"/>
                  <a:gd name="connsiteX30" fmla="*/ 569162 w 606487"/>
                  <a:gd name="connsiteY30" fmla="*/ 488608 h 605592"/>
                  <a:gd name="connsiteX31" fmla="*/ 543443 w 606487"/>
                  <a:gd name="connsiteY31" fmla="*/ 514285 h 605592"/>
                  <a:gd name="connsiteX32" fmla="*/ 476499 w 606487"/>
                  <a:gd name="connsiteY32" fmla="*/ 514285 h 605592"/>
                  <a:gd name="connsiteX33" fmla="*/ 476499 w 606487"/>
                  <a:gd name="connsiteY33" fmla="*/ 579915 h 605592"/>
                  <a:gd name="connsiteX34" fmla="*/ 450687 w 606487"/>
                  <a:gd name="connsiteY34" fmla="*/ 605592 h 605592"/>
                  <a:gd name="connsiteX35" fmla="*/ 424968 w 606487"/>
                  <a:gd name="connsiteY35" fmla="*/ 579915 h 605592"/>
                  <a:gd name="connsiteX36" fmla="*/ 424968 w 606487"/>
                  <a:gd name="connsiteY36" fmla="*/ 514285 h 605592"/>
                  <a:gd name="connsiteX37" fmla="*/ 180219 w 606487"/>
                  <a:gd name="connsiteY37" fmla="*/ 514285 h 605592"/>
                  <a:gd name="connsiteX38" fmla="*/ 180219 w 606487"/>
                  <a:gd name="connsiteY38" fmla="*/ 579915 h 605592"/>
                  <a:gd name="connsiteX39" fmla="*/ 154500 w 606487"/>
                  <a:gd name="connsiteY39" fmla="*/ 605592 h 605592"/>
                  <a:gd name="connsiteX40" fmla="*/ 128688 w 606487"/>
                  <a:gd name="connsiteY40" fmla="*/ 579915 h 605592"/>
                  <a:gd name="connsiteX41" fmla="*/ 128688 w 606487"/>
                  <a:gd name="connsiteY41" fmla="*/ 514285 h 605592"/>
                  <a:gd name="connsiteX42" fmla="*/ 61744 w 606487"/>
                  <a:gd name="connsiteY42" fmla="*/ 514285 h 605592"/>
                  <a:gd name="connsiteX43" fmla="*/ 36025 w 606487"/>
                  <a:gd name="connsiteY43" fmla="*/ 488608 h 605592"/>
                  <a:gd name="connsiteX44" fmla="*/ 36025 w 606487"/>
                  <a:gd name="connsiteY44" fmla="*/ 51447 h 605592"/>
                  <a:gd name="connsiteX45" fmla="*/ 25719 w 606487"/>
                  <a:gd name="connsiteY45" fmla="*/ 51447 h 605592"/>
                  <a:gd name="connsiteX46" fmla="*/ 0 w 606487"/>
                  <a:gd name="connsiteY46" fmla="*/ 25677 h 605592"/>
                  <a:gd name="connsiteX47" fmla="*/ 25719 w 606487"/>
                  <a:gd name="connsiteY47" fmla="*/ 0 h 605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606487" h="605592">
                    <a:moveTo>
                      <a:pt x="414666" y="244368"/>
                    </a:moveTo>
                    <a:cubicBezTo>
                      <a:pt x="428774" y="244368"/>
                      <a:pt x="440469" y="255954"/>
                      <a:pt x="440469" y="270042"/>
                    </a:cubicBezTo>
                    <a:lnTo>
                      <a:pt x="440469" y="381912"/>
                    </a:lnTo>
                    <a:cubicBezTo>
                      <a:pt x="439170" y="396000"/>
                      <a:pt x="428774" y="407586"/>
                      <a:pt x="414666" y="407586"/>
                    </a:cubicBezTo>
                    <a:cubicBezTo>
                      <a:pt x="400465" y="407586"/>
                      <a:pt x="388956" y="396000"/>
                      <a:pt x="388956" y="381912"/>
                    </a:cubicBezTo>
                    <a:lnTo>
                      <a:pt x="388956" y="270042"/>
                    </a:lnTo>
                    <a:cubicBezTo>
                      <a:pt x="388956" y="255954"/>
                      <a:pt x="400558" y="244368"/>
                      <a:pt x="414666" y="244368"/>
                    </a:cubicBezTo>
                    <a:close/>
                    <a:moveTo>
                      <a:pt x="302702" y="167240"/>
                    </a:moveTo>
                    <a:cubicBezTo>
                      <a:pt x="316810" y="167240"/>
                      <a:pt x="328412" y="178826"/>
                      <a:pt x="328412" y="192915"/>
                    </a:cubicBezTo>
                    <a:lnTo>
                      <a:pt x="328412" y="381911"/>
                    </a:lnTo>
                    <a:cubicBezTo>
                      <a:pt x="328412" y="396000"/>
                      <a:pt x="316810" y="407586"/>
                      <a:pt x="302702" y="407586"/>
                    </a:cubicBezTo>
                    <a:cubicBezTo>
                      <a:pt x="288408" y="407586"/>
                      <a:pt x="276899" y="396000"/>
                      <a:pt x="276899" y="381911"/>
                    </a:cubicBezTo>
                    <a:lnTo>
                      <a:pt x="276899" y="192915"/>
                    </a:lnTo>
                    <a:cubicBezTo>
                      <a:pt x="276899" y="178826"/>
                      <a:pt x="288594" y="167240"/>
                      <a:pt x="302702" y="167240"/>
                    </a:cubicBezTo>
                    <a:close/>
                    <a:moveTo>
                      <a:pt x="190632" y="107965"/>
                    </a:moveTo>
                    <a:cubicBezTo>
                      <a:pt x="204746" y="107965"/>
                      <a:pt x="216353" y="119646"/>
                      <a:pt x="216353" y="133737"/>
                    </a:cubicBezTo>
                    <a:lnTo>
                      <a:pt x="216353" y="381907"/>
                    </a:lnTo>
                    <a:cubicBezTo>
                      <a:pt x="216353" y="395998"/>
                      <a:pt x="204746" y="407586"/>
                      <a:pt x="190632" y="407586"/>
                    </a:cubicBezTo>
                    <a:cubicBezTo>
                      <a:pt x="176425" y="407586"/>
                      <a:pt x="164911" y="395998"/>
                      <a:pt x="164911" y="381907"/>
                    </a:cubicBezTo>
                    <a:lnTo>
                      <a:pt x="164911" y="133737"/>
                    </a:lnTo>
                    <a:cubicBezTo>
                      <a:pt x="164911" y="119646"/>
                      <a:pt x="176518" y="107965"/>
                      <a:pt x="190632" y="107965"/>
                    </a:cubicBezTo>
                    <a:close/>
                    <a:moveTo>
                      <a:pt x="86256" y="51447"/>
                    </a:moveTo>
                    <a:lnTo>
                      <a:pt x="86256" y="464229"/>
                    </a:lnTo>
                    <a:lnTo>
                      <a:pt x="517724" y="464229"/>
                    </a:lnTo>
                    <a:lnTo>
                      <a:pt x="517724" y="51447"/>
                    </a:lnTo>
                    <a:close/>
                    <a:moveTo>
                      <a:pt x="25719" y="0"/>
                    </a:moveTo>
                    <a:lnTo>
                      <a:pt x="580861" y="0"/>
                    </a:lnTo>
                    <a:cubicBezTo>
                      <a:pt x="594974" y="0"/>
                      <a:pt x="606580" y="11587"/>
                      <a:pt x="606487" y="25677"/>
                    </a:cubicBezTo>
                    <a:cubicBezTo>
                      <a:pt x="606487" y="39767"/>
                      <a:pt x="593581" y="51447"/>
                      <a:pt x="579468" y="51447"/>
                    </a:cubicBezTo>
                    <a:lnTo>
                      <a:pt x="569162" y="51447"/>
                    </a:lnTo>
                    <a:lnTo>
                      <a:pt x="569162" y="488608"/>
                    </a:lnTo>
                    <a:cubicBezTo>
                      <a:pt x="569162" y="503996"/>
                      <a:pt x="557556" y="514285"/>
                      <a:pt x="543443" y="514285"/>
                    </a:cubicBezTo>
                    <a:lnTo>
                      <a:pt x="476499" y="514285"/>
                    </a:lnTo>
                    <a:lnTo>
                      <a:pt x="476499" y="579915"/>
                    </a:lnTo>
                    <a:cubicBezTo>
                      <a:pt x="476499" y="594005"/>
                      <a:pt x="464800" y="605592"/>
                      <a:pt x="450687" y="605592"/>
                    </a:cubicBezTo>
                    <a:cubicBezTo>
                      <a:pt x="436574" y="605592"/>
                      <a:pt x="424968" y="594005"/>
                      <a:pt x="424968" y="579915"/>
                    </a:cubicBezTo>
                    <a:lnTo>
                      <a:pt x="424968" y="514285"/>
                    </a:lnTo>
                    <a:lnTo>
                      <a:pt x="180219" y="514285"/>
                    </a:lnTo>
                    <a:lnTo>
                      <a:pt x="180219" y="579915"/>
                    </a:lnTo>
                    <a:cubicBezTo>
                      <a:pt x="180219" y="594005"/>
                      <a:pt x="168613" y="605592"/>
                      <a:pt x="154500" y="605592"/>
                    </a:cubicBezTo>
                    <a:cubicBezTo>
                      <a:pt x="140387" y="605592"/>
                      <a:pt x="128688" y="594005"/>
                      <a:pt x="128688" y="579915"/>
                    </a:cubicBezTo>
                    <a:lnTo>
                      <a:pt x="128688" y="514285"/>
                    </a:lnTo>
                    <a:lnTo>
                      <a:pt x="61744" y="514285"/>
                    </a:lnTo>
                    <a:cubicBezTo>
                      <a:pt x="47631" y="514285"/>
                      <a:pt x="36025" y="502698"/>
                      <a:pt x="36025" y="488608"/>
                    </a:cubicBezTo>
                    <a:lnTo>
                      <a:pt x="36025" y="51447"/>
                    </a:lnTo>
                    <a:lnTo>
                      <a:pt x="25719" y="51447"/>
                    </a:lnTo>
                    <a:cubicBezTo>
                      <a:pt x="11606" y="51447"/>
                      <a:pt x="0" y="39767"/>
                      <a:pt x="0" y="25677"/>
                    </a:cubicBezTo>
                    <a:cubicBezTo>
                      <a:pt x="0" y="11587"/>
                      <a:pt x="11606" y="0"/>
                      <a:pt x="2571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D455E5D6-F315-4BC5-B0AE-2EB02AB930C6}"/>
                </a:ext>
              </a:extLst>
            </p:cNvPr>
            <p:cNvGrpSpPr/>
            <p:nvPr/>
          </p:nvGrpSpPr>
          <p:grpSpPr>
            <a:xfrm>
              <a:off x="7749240" y="3113430"/>
              <a:ext cx="935086" cy="1037540"/>
              <a:chOff x="7747187" y="3113430"/>
              <a:chExt cx="935086" cy="1037540"/>
            </a:xfrm>
          </p:grpSpPr>
          <p:sp>
            <p:nvSpPr>
              <p:cNvPr id="28" name="任意多边形: 形状 27">
                <a:extLst>
                  <a:ext uri="{FF2B5EF4-FFF2-40B4-BE49-F238E27FC236}">
                    <a16:creationId xmlns:a16="http://schemas.microsoft.com/office/drawing/2014/main" id="{8AF78608-9650-4BFF-AA3E-C0BD4F828F05}"/>
                  </a:ext>
                </a:extLst>
              </p:cNvPr>
              <p:cNvSpPr/>
              <p:nvPr/>
            </p:nvSpPr>
            <p:spPr bwMode="auto">
              <a:xfrm>
                <a:off x="7747187" y="3113430"/>
                <a:ext cx="935086" cy="1037540"/>
              </a:xfrm>
              <a:custGeom>
                <a:avLst/>
                <a:gdLst>
                  <a:gd name="T0" fmla="*/ 668 w 1369"/>
                  <a:gd name="T1" fmla="*/ 0 h 1519"/>
                  <a:gd name="T2" fmla="*/ 702 w 1369"/>
                  <a:gd name="T3" fmla="*/ 0 h 1519"/>
                  <a:gd name="T4" fmla="*/ 736 w 1369"/>
                  <a:gd name="T5" fmla="*/ 7 h 1519"/>
                  <a:gd name="T6" fmla="*/ 768 w 1369"/>
                  <a:gd name="T7" fmla="*/ 21 h 1519"/>
                  <a:gd name="T8" fmla="*/ 1284 w 1369"/>
                  <a:gd name="T9" fmla="*/ 318 h 1519"/>
                  <a:gd name="T10" fmla="*/ 1313 w 1369"/>
                  <a:gd name="T11" fmla="*/ 339 h 1519"/>
                  <a:gd name="T12" fmla="*/ 1337 w 1369"/>
                  <a:gd name="T13" fmla="*/ 364 h 1519"/>
                  <a:gd name="T14" fmla="*/ 1354 w 1369"/>
                  <a:gd name="T15" fmla="*/ 395 h 1519"/>
                  <a:gd name="T16" fmla="*/ 1364 w 1369"/>
                  <a:gd name="T17" fmla="*/ 429 h 1519"/>
                  <a:gd name="T18" fmla="*/ 1369 w 1369"/>
                  <a:gd name="T19" fmla="*/ 465 h 1519"/>
                  <a:gd name="T20" fmla="*/ 1369 w 1369"/>
                  <a:gd name="T21" fmla="*/ 1054 h 1519"/>
                  <a:gd name="T22" fmla="*/ 1364 w 1369"/>
                  <a:gd name="T23" fmla="*/ 1090 h 1519"/>
                  <a:gd name="T24" fmla="*/ 1354 w 1369"/>
                  <a:gd name="T25" fmla="*/ 1124 h 1519"/>
                  <a:gd name="T26" fmla="*/ 1337 w 1369"/>
                  <a:gd name="T27" fmla="*/ 1154 h 1519"/>
                  <a:gd name="T28" fmla="*/ 1313 w 1369"/>
                  <a:gd name="T29" fmla="*/ 1181 h 1519"/>
                  <a:gd name="T30" fmla="*/ 1284 w 1369"/>
                  <a:gd name="T31" fmla="*/ 1201 h 1519"/>
                  <a:gd name="T32" fmla="*/ 768 w 1369"/>
                  <a:gd name="T33" fmla="*/ 1497 h 1519"/>
                  <a:gd name="T34" fmla="*/ 736 w 1369"/>
                  <a:gd name="T35" fmla="*/ 1512 h 1519"/>
                  <a:gd name="T36" fmla="*/ 702 w 1369"/>
                  <a:gd name="T37" fmla="*/ 1519 h 1519"/>
                  <a:gd name="T38" fmla="*/ 668 w 1369"/>
                  <a:gd name="T39" fmla="*/ 1519 h 1519"/>
                  <a:gd name="T40" fmla="*/ 632 w 1369"/>
                  <a:gd name="T41" fmla="*/ 1512 h 1519"/>
                  <a:gd name="T42" fmla="*/ 599 w 1369"/>
                  <a:gd name="T43" fmla="*/ 1497 h 1519"/>
                  <a:gd name="T44" fmla="*/ 85 w 1369"/>
                  <a:gd name="T45" fmla="*/ 1201 h 1519"/>
                  <a:gd name="T46" fmla="*/ 56 w 1369"/>
                  <a:gd name="T47" fmla="*/ 1181 h 1519"/>
                  <a:gd name="T48" fmla="*/ 32 w 1369"/>
                  <a:gd name="T49" fmla="*/ 1154 h 1519"/>
                  <a:gd name="T50" fmla="*/ 15 w 1369"/>
                  <a:gd name="T51" fmla="*/ 1124 h 1519"/>
                  <a:gd name="T52" fmla="*/ 3 w 1369"/>
                  <a:gd name="T53" fmla="*/ 1090 h 1519"/>
                  <a:gd name="T54" fmla="*/ 0 w 1369"/>
                  <a:gd name="T55" fmla="*/ 1054 h 1519"/>
                  <a:gd name="T56" fmla="*/ 0 w 1369"/>
                  <a:gd name="T57" fmla="*/ 465 h 1519"/>
                  <a:gd name="T58" fmla="*/ 3 w 1369"/>
                  <a:gd name="T59" fmla="*/ 429 h 1519"/>
                  <a:gd name="T60" fmla="*/ 15 w 1369"/>
                  <a:gd name="T61" fmla="*/ 395 h 1519"/>
                  <a:gd name="T62" fmla="*/ 32 w 1369"/>
                  <a:gd name="T63" fmla="*/ 364 h 1519"/>
                  <a:gd name="T64" fmla="*/ 56 w 1369"/>
                  <a:gd name="T65" fmla="*/ 339 h 1519"/>
                  <a:gd name="T66" fmla="*/ 85 w 1369"/>
                  <a:gd name="T67" fmla="*/ 318 h 1519"/>
                  <a:gd name="T68" fmla="*/ 599 w 1369"/>
                  <a:gd name="T69" fmla="*/ 21 h 1519"/>
                  <a:gd name="T70" fmla="*/ 632 w 1369"/>
                  <a:gd name="T71" fmla="*/ 7 h 1519"/>
                  <a:gd name="T72" fmla="*/ 668 w 1369"/>
                  <a:gd name="T73" fmla="*/ 0 h 1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369" h="1519">
                    <a:moveTo>
                      <a:pt x="668" y="0"/>
                    </a:moveTo>
                    <a:lnTo>
                      <a:pt x="702" y="0"/>
                    </a:lnTo>
                    <a:lnTo>
                      <a:pt x="736" y="7"/>
                    </a:lnTo>
                    <a:lnTo>
                      <a:pt x="768" y="21"/>
                    </a:lnTo>
                    <a:lnTo>
                      <a:pt x="1284" y="318"/>
                    </a:lnTo>
                    <a:lnTo>
                      <a:pt x="1313" y="339"/>
                    </a:lnTo>
                    <a:lnTo>
                      <a:pt x="1337" y="364"/>
                    </a:lnTo>
                    <a:lnTo>
                      <a:pt x="1354" y="395"/>
                    </a:lnTo>
                    <a:lnTo>
                      <a:pt x="1364" y="429"/>
                    </a:lnTo>
                    <a:lnTo>
                      <a:pt x="1369" y="465"/>
                    </a:lnTo>
                    <a:lnTo>
                      <a:pt x="1369" y="1054"/>
                    </a:lnTo>
                    <a:lnTo>
                      <a:pt x="1364" y="1090"/>
                    </a:lnTo>
                    <a:lnTo>
                      <a:pt x="1354" y="1124"/>
                    </a:lnTo>
                    <a:lnTo>
                      <a:pt x="1337" y="1154"/>
                    </a:lnTo>
                    <a:lnTo>
                      <a:pt x="1313" y="1181"/>
                    </a:lnTo>
                    <a:lnTo>
                      <a:pt x="1284" y="1201"/>
                    </a:lnTo>
                    <a:lnTo>
                      <a:pt x="768" y="1497"/>
                    </a:lnTo>
                    <a:lnTo>
                      <a:pt x="736" y="1512"/>
                    </a:lnTo>
                    <a:lnTo>
                      <a:pt x="702" y="1519"/>
                    </a:lnTo>
                    <a:lnTo>
                      <a:pt x="668" y="1519"/>
                    </a:lnTo>
                    <a:lnTo>
                      <a:pt x="632" y="1512"/>
                    </a:lnTo>
                    <a:lnTo>
                      <a:pt x="599" y="1497"/>
                    </a:lnTo>
                    <a:lnTo>
                      <a:pt x="85" y="1201"/>
                    </a:lnTo>
                    <a:lnTo>
                      <a:pt x="56" y="1181"/>
                    </a:lnTo>
                    <a:lnTo>
                      <a:pt x="32" y="1154"/>
                    </a:lnTo>
                    <a:lnTo>
                      <a:pt x="15" y="1124"/>
                    </a:lnTo>
                    <a:lnTo>
                      <a:pt x="3" y="1090"/>
                    </a:lnTo>
                    <a:lnTo>
                      <a:pt x="0" y="1054"/>
                    </a:lnTo>
                    <a:lnTo>
                      <a:pt x="0" y="465"/>
                    </a:lnTo>
                    <a:lnTo>
                      <a:pt x="3" y="429"/>
                    </a:lnTo>
                    <a:lnTo>
                      <a:pt x="15" y="395"/>
                    </a:lnTo>
                    <a:lnTo>
                      <a:pt x="32" y="364"/>
                    </a:lnTo>
                    <a:lnTo>
                      <a:pt x="56" y="339"/>
                    </a:lnTo>
                    <a:lnTo>
                      <a:pt x="85" y="318"/>
                    </a:lnTo>
                    <a:lnTo>
                      <a:pt x="599" y="21"/>
                    </a:lnTo>
                    <a:lnTo>
                      <a:pt x="632" y="7"/>
                    </a:lnTo>
                    <a:lnTo>
                      <a:pt x="668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 lang="ru-RU" sz="1600" i="1" u="sng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F7A70C99-03C8-4327-9170-403E15E2CE25}"/>
                  </a:ext>
                </a:extLst>
              </p:cNvPr>
              <p:cNvSpPr/>
              <p:nvPr/>
            </p:nvSpPr>
            <p:spPr>
              <a:xfrm>
                <a:off x="8005045" y="3405851"/>
                <a:ext cx="419368" cy="452698"/>
              </a:xfrm>
              <a:custGeom>
                <a:avLst/>
                <a:gdLst>
                  <a:gd name="connsiteX0" fmla="*/ 250789 w 563817"/>
                  <a:gd name="connsiteY0" fmla="*/ 546529 h 608627"/>
                  <a:gd name="connsiteX1" fmla="*/ 313028 w 563817"/>
                  <a:gd name="connsiteY1" fmla="*/ 546529 h 608627"/>
                  <a:gd name="connsiteX2" fmla="*/ 313028 w 563817"/>
                  <a:gd name="connsiteY2" fmla="*/ 577578 h 608627"/>
                  <a:gd name="connsiteX3" fmla="*/ 281909 w 563817"/>
                  <a:gd name="connsiteY3" fmla="*/ 608627 h 608627"/>
                  <a:gd name="connsiteX4" fmla="*/ 250789 w 563817"/>
                  <a:gd name="connsiteY4" fmla="*/ 577578 h 608627"/>
                  <a:gd name="connsiteX5" fmla="*/ 464320 w 563817"/>
                  <a:gd name="connsiteY5" fmla="*/ 405681 h 608627"/>
                  <a:gd name="connsiteX6" fmla="*/ 526488 w 563817"/>
                  <a:gd name="connsiteY6" fmla="*/ 405681 h 608627"/>
                  <a:gd name="connsiteX7" fmla="*/ 526488 w 563817"/>
                  <a:gd name="connsiteY7" fmla="*/ 577572 h 608627"/>
                  <a:gd name="connsiteX8" fmla="*/ 495404 w 563817"/>
                  <a:gd name="connsiteY8" fmla="*/ 608627 h 608627"/>
                  <a:gd name="connsiteX9" fmla="*/ 464320 w 563817"/>
                  <a:gd name="connsiteY9" fmla="*/ 577572 h 608627"/>
                  <a:gd name="connsiteX10" fmla="*/ 233217 w 563817"/>
                  <a:gd name="connsiteY10" fmla="*/ 343583 h 608627"/>
                  <a:gd name="connsiteX11" fmla="*/ 330600 w 563817"/>
                  <a:gd name="connsiteY11" fmla="*/ 343583 h 608627"/>
                  <a:gd name="connsiteX12" fmla="*/ 350357 w 563817"/>
                  <a:gd name="connsiteY12" fmla="*/ 363308 h 608627"/>
                  <a:gd name="connsiteX13" fmla="*/ 350357 w 563817"/>
                  <a:gd name="connsiteY13" fmla="*/ 485538 h 608627"/>
                  <a:gd name="connsiteX14" fmla="*/ 330600 w 563817"/>
                  <a:gd name="connsiteY14" fmla="*/ 505107 h 608627"/>
                  <a:gd name="connsiteX15" fmla="*/ 233217 w 563817"/>
                  <a:gd name="connsiteY15" fmla="*/ 505107 h 608627"/>
                  <a:gd name="connsiteX16" fmla="*/ 213460 w 563817"/>
                  <a:gd name="connsiteY16" fmla="*/ 485538 h 608627"/>
                  <a:gd name="connsiteX17" fmla="*/ 213460 w 563817"/>
                  <a:gd name="connsiteY17" fmla="*/ 363308 h 608627"/>
                  <a:gd name="connsiteX18" fmla="*/ 233217 w 563817"/>
                  <a:gd name="connsiteY18" fmla="*/ 343583 h 608627"/>
                  <a:gd name="connsiteX19" fmla="*/ 37329 w 563817"/>
                  <a:gd name="connsiteY19" fmla="*/ 314722 h 608627"/>
                  <a:gd name="connsiteX20" fmla="*/ 99497 w 563817"/>
                  <a:gd name="connsiteY20" fmla="*/ 314722 h 608627"/>
                  <a:gd name="connsiteX21" fmla="*/ 99497 w 563817"/>
                  <a:gd name="connsiteY21" fmla="*/ 577575 h 608627"/>
                  <a:gd name="connsiteX22" fmla="*/ 68413 w 563817"/>
                  <a:gd name="connsiteY22" fmla="*/ 608627 h 608627"/>
                  <a:gd name="connsiteX23" fmla="*/ 37329 w 563817"/>
                  <a:gd name="connsiteY23" fmla="*/ 577575 h 608627"/>
                  <a:gd name="connsiteX24" fmla="*/ 446737 w 563817"/>
                  <a:gd name="connsiteY24" fmla="*/ 202946 h 608627"/>
                  <a:gd name="connsiteX25" fmla="*/ 544226 w 563817"/>
                  <a:gd name="connsiteY25" fmla="*/ 202946 h 608627"/>
                  <a:gd name="connsiteX26" fmla="*/ 563817 w 563817"/>
                  <a:gd name="connsiteY26" fmla="*/ 222507 h 608627"/>
                  <a:gd name="connsiteX27" fmla="*/ 563817 w 563817"/>
                  <a:gd name="connsiteY27" fmla="*/ 344684 h 608627"/>
                  <a:gd name="connsiteX28" fmla="*/ 544226 w 563817"/>
                  <a:gd name="connsiteY28" fmla="*/ 364400 h 608627"/>
                  <a:gd name="connsiteX29" fmla="*/ 446737 w 563817"/>
                  <a:gd name="connsiteY29" fmla="*/ 364400 h 608627"/>
                  <a:gd name="connsiteX30" fmla="*/ 426991 w 563817"/>
                  <a:gd name="connsiteY30" fmla="*/ 344684 h 608627"/>
                  <a:gd name="connsiteX31" fmla="*/ 426991 w 563817"/>
                  <a:gd name="connsiteY31" fmla="*/ 222507 h 608627"/>
                  <a:gd name="connsiteX32" fmla="*/ 446737 w 563817"/>
                  <a:gd name="connsiteY32" fmla="*/ 202946 h 608627"/>
                  <a:gd name="connsiteX33" fmla="*/ 19591 w 563817"/>
                  <a:gd name="connsiteY33" fmla="*/ 111776 h 608627"/>
                  <a:gd name="connsiteX34" fmla="*/ 117080 w 563817"/>
                  <a:gd name="connsiteY34" fmla="*/ 111776 h 608627"/>
                  <a:gd name="connsiteX35" fmla="*/ 136826 w 563817"/>
                  <a:gd name="connsiteY35" fmla="*/ 131501 h 608627"/>
                  <a:gd name="connsiteX36" fmla="*/ 136826 w 563817"/>
                  <a:gd name="connsiteY36" fmla="*/ 253576 h 608627"/>
                  <a:gd name="connsiteX37" fmla="*/ 117080 w 563817"/>
                  <a:gd name="connsiteY37" fmla="*/ 273300 h 608627"/>
                  <a:gd name="connsiteX38" fmla="*/ 19591 w 563817"/>
                  <a:gd name="connsiteY38" fmla="*/ 273300 h 608627"/>
                  <a:gd name="connsiteX39" fmla="*/ 0 w 563817"/>
                  <a:gd name="connsiteY39" fmla="*/ 253576 h 608627"/>
                  <a:gd name="connsiteX40" fmla="*/ 0 w 563817"/>
                  <a:gd name="connsiteY40" fmla="*/ 131501 h 608627"/>
                  <a:gd name="connsiteX41" fmla="*/ 19591 w 563817"/>
                  <a:gd name="connsiteY41" fmla="*/ 111776 h 608627"/>
                  <a:gd name="connsiteX42" fmla="*/ 495404 w 563817"/>
                  <a:gd name="connsiteY42" fmla="*/ 0 h 608627"/>
                  <a:gd name="connsiteX43" fmla="*/ 526488 w 563817"/>
                  <a:gd name="connsiteY43" fmla="*/ 31049 h 608627"/>
                  <a:gd name="connsiteX44" fmla="*/ 526488 w 563817"/>
                  <a:gd name="connsiteY44" fmla="*/ 161454 h 608627"/>
                  <a:gd name="connsiteX45" fmla="*/ 464320 w 563817"/>
                  <a:gd name="connsiteY45" fmla="*/ 161454 h 608627"/>
                  <a:gd name="connsiteX46" fmla="*/ 464320 w 563817"/>
                  <a:gd name="connsiteY46" fmla="*/ 31049 h 608627"/>
                  <a:gd name="connsiteX47" fmla="*/ 495404 w 563817"/>
                  <a:gd name="connsiteY47" fmla="*/ 0 h 608627"/>
                  <a:gd name="connsiteX48" fmla="*/ 281909 w 563817"/>
                  <a:gd name="connsiteY48" fmla="*/ 0 h 608627"/>
                  <a:gd name="connsiteX49" fmla="*/ 313028 w 563817"/>
                  <a:gd name="connsiteY49" fmla="*/ 31053 h 608627"/>
                  <a:gd name="connsiteX50" fmla="*/ 313028 w 563817"/>
                  <a:gd name="connsiteY50" fmla="*/ 302302 h 608627"/>
                  <a:gd name="connsiteX51" fmla="*/ 250789 w 563817"/>
                  <a:gd name="connsiteY51" fmla="*/ 302302 h 608627"/>
                  <a:gd name="connsiteX52" fmla="*/ 250789 w 563817"/>
                  <a:gd name="connsiteY52" fmla="*/ 31053 h 608627"/>
                  <a:gd name="connsiteX53" fmla="*/ 281909 w 563817"/>
                  <a:gd name="connsiteY53" fmla="*/ 0 h 608627"/>
                  <a:gd name="connsiteX54" fmla="*/ 68413 w 563817"/>
                  <a:gd name="connsiteY54" fmla="*/ 0 h 608627"/>
                  <a:gd name="connsiteX55" fmla="*/ 99497 w 563817"/>
                  <a:gd name="connsiteY55" fmla="*/ 31061 h 608627"/>
                  <a:gd name="connsiteX56" fmla="*/ 99497 w 563817"/>
                  <a:gd name="connsiteY56" fmla="*/ 70354 h 608627"/>
                  <a:gd name="connsiteX57" fmla="*/ 37329 w 563817"/>
                  <a:gd name="connsiteY57" fmla="*/ 70354 h 608627"/>
                  <a:gd name="connsiteX58" fmla="*/ 37329 w 563817"/>
                  <a:gd name="connsiteY58" fmla="*/ 31061 h 608627"/>
                  <a:gd name="connsiteX59" fmla="*/ 68413 w 563817"/>
                  <a:gd name="connsiteY59" fmla="*/ 0 h 608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563817" h="608627">
                    <a:moveTo>
                      <a:pt x="250789" y="546529"/>
                    </a:moveTo>
                    <a:lnTo>
                      <a:pt x="313028" y="546529"/>
                    </a:lnTo>
                    <a:lnTo>
                      <a:pt x="313028" y="577578"/>
                    </a:lnTo>
                    <a:cubicBezTo>
                      <a:pt x="313028" y="594655"/>
                      <a:pt x="299024" y="608627"/>
                      <a:pt x="281909" y="608627"/>
                    </a:cubicBezTo>
                    <a:cubicBezTo>
                      <a:pt x="264793" y="608627"/>
                      <a:pt x="250789" y="594655"/>
                      <a:pt x="250789" y="577578"/>
                    </a:cubicBezTo>
                    <a:close/>
                    <a:moveTo>
                      <a:pt x="464320" y="405681"/>
                    </a:moveTo>
                    <a:lnTo>
                      <a:pt x="526488" y="405681"/>
                    </a:lnTo>
                    <a:lnTo>
                      <a:pt x="526488" y="577572"/>
                    </a:lnTo>
                    <a:cubicBezTo>
                      <a:pt x="526488" y="594652"/>
                      <a:pt x="512656" y="608627"/>
                      <a:pt x="495404" y="608627"/>
                    </a:cubicBezTo>
                    <a:cubicBezTo>
                      <a:pt x="478308" y="608627"/>
                      <a:pt x="464320" y="594652"/>
                      <a:pt x="464320" y="577572"/>
                    </a:cubicBezTo>
                    <a:close/>
                    <a:moveTo>
                      <a:pt x="233217" y="343583"/>
                    </a:moveTo>
                    <a:lnTo>
                      <a:pt x="330600" y="343583"/>
                    </a:lnTo>
                    <a:cubicBezTo>
                      <a:pt x="341490" y="343583"/>
                      <a:pt x="350357" y="352436"/>
                      <a:pt x="350357" y="363308"/>
                    </a:cubicBezTo>
                    <a:lnTo>
                      <a:pt x="350357" y="485538"/>
                    </a:lnTo>
                    <a:cubicBezTo>
                      <a:pt x="350357" y="496410"/>
                      <a:pt x="341490" y="505107"/>
                      <a:pt x="330600" y="505107"/>
                    </a:cubicBezTo>
                    <a:lnTo>
                      <a:pt x="233217" y="505107"/>
                    </a:lnTo>
                    <a:cubicBezTo>
                      <a:pt x="222327" y="505107"/>
                      <a:pt x="213460" y="496410"/>
                      <a:pt x="213460" y="485538"/>
                    </a:cubicBezTo>
                    <a:lnTo>
                      <a:pt x="213460" y="363308"/>
                    </a:lnTo>
                    <a:cubicBezTo>
                      <a:pt x="213460" y="352436"/>
                      <a:pt x="222327" y="343583"/>
                      <a:pt x="233217" y="343583"/>
                    </a:cubicBezTo>
                    <a:close/>
                    <a:moveTo>
                      <a:pt x="37329" y="314722"/>
                    </a:moveTo>
                    <a:lnTo>
                      <a:pt x="99497" y="314722"/>
                    </a:lnTo>
                    <a:lnTo>
                      <a:pt x="99497" y="577575"/>
                    </a:lnTo>
                    <a:cubicBezTo>
                      <a:pt x="99497" y="594654"/>
                      <a:pt x="85509" y="608627"/>
                      <a:pt x="68413" y="608627"/>
                    </a:cubicBezTo>
                    <a:cubicBezTo>
                      <a:pt x="51161" y="608627"/>
                      <a:pt x="37329" y="594654"/>
                      <a:pt x="37329" y="577575"/>
                    </a:cubicBezTo>
                    <a:close/>
                    <a:moveTo>
                      <a:pt x="446737" y="202946"/>
                    </a:moveTo>
                    <a:lnTo>
                      <a:pt x="544226" y="202946"/>
                    </a:lnTo>
                    <a:cubicBezTo>
                      <a:pt x="555110" y="202946"/>
                      <a:pt x="563817" y="211640"/>
                      <a:pt x="563817" y="222507"/>
                    </a:cubicBezTo>
                    <a:lnTo>
                      <a:pt x="563817" y="344684"/>
                    </a:lnTo>
                    <a:cubicBezTo>
                      <a:pt x="563817" y="355551"/>
                      <a:pt x="555110" y="364400"/>
                      <a:pt x="544226" y="364400"/>
                    </a:cubicBezTo>
                    <a:lnTo>
                      <a:pt x="446737" y="364400"/>
                    </a:lnTo>
                    <a:cubicBezTo>
                      <a:pt x="435854" y="364400"/>
                      <a:pt x="426991" y="355551"/>
                      <a:pt x="426991" y="344684"/>
                    </a:cubicBezTo>
                    <a:lnTo>
                      <a:pt x="426991" y="222507"/>
                    </a:lnTo>
                    <a:cubicBezTo>
                      <a:pt x="426991" y="211640"/>
                      <a:pt x="435854" y="202946"/>
                      <a:pt x="446737" y="202946"/>
                    </a:cubicBezTo>
                    <a:close/>
                    <a:moveTo>
                      <a:pt x="19591" y="111776"/>
                    </a:moveTo>
                    <a:lnTo>
                      <a:pt x="117080" y="111776"/>
                    </a:lnTo>
                    <a:cubicBezTo>
                      <a:pt x="127963" y="111776"/>
                      <a:pt x="136826" y="120629"/>
                      <a:pt x="136826" y="131501"/>
                    </a:cubicBezTo>
                    <a:lnTo>
                      <a:pt x="136826" y="253576"/>
                    </a:lnTo>
                    <a:cubicBezTo>
                      <a:pt x="136826" y="264447"/>
                      <a:pt x="127963" y="273300"/>
                      <a:pt x="117080" y="273300"/>
                    </a:cubicBezTo>
                    <a:lnTo>
                      <a:pt x="19591" y="273300"/>
                    </a:lnTo>
                    <a:cubicBezTo>
                      <a:pt x="8707" y="273300"/>
                      <a:pt x="0" y="264447"/>
                      <a:pt x="0" y="253576"/>
                    </a:cubicBezTo>
                    <a:lnTo>
                      <a:pt x="0" y="131501"/>
                    </a:lnTo>
                    <a:cubicBezTo>
                      <a:pt x="0" y="120629"/>
                      <a:pt x="8707" y="111776"/>
                      <a:pt x="19591" y="111776"/>
                    </a:cubicBezTo>
                    <a:close/>
                    <a:moveTo>
                      <a:pt x="495404" y="0"/>
                    </a:moveTo>
                    <a:cubicBezTo>
                      <a:pt x="512656" y="0"/>
                      <a:pt x="526488" y="13972"/>
                      <a:pt x="526488" y="31049"/>
                    </a:cubicBezTo>
                    <a:lnTo>
                      <a:pt x="526488" y="161454"/>
                    </a:lnTo>
                    <a:lnTo>
                      <a:pt x="464320" y="161454"/>
                    </a:lnTo>
                    <a:lnTo>
                      <a:pt x="464320" y="31049"/>
                    </a:lnTo>
                    <a:cubicBezTo>
                      <a:pt x="464320" y="13972"/>
                      <a:pt x="478308" y="0"/>
                      <a:pt x="495404" y="0"/>
                    </a:cubicBezTo>
                    <a:close/>
                    <a:moveTo>
                      <a:pt x="281909" y="0"/>
                    </a:moveTo>
                    <a:cubicBezTo>
                      <a:pt x="299024" y="0"/>
                      <a:pt x="313028" y="13974"/>
                      <a:pt x="313028" y="31053"/>
                    </a:cubicBezTo>
                    <a:lnTo>
                      <a:pt x="313028" y="302302"/>
                    </a:lnTo>
                    <a:lnTo>
                      <a:pt x="250789" y="302302"/>
                    </a:lnTo>
                    <a:lnTo>
                      <a:pt x="250789" y="31053"/>
                    </a:lnTo>
                    <a:cubicBezTo>
                      <a:pt x="250789" y="13974"/>
                      <a:pt x="264793" y="0"/>
                      <a:pt x="281909" y="0"/>
                    </a:cubicBezTo>
                    <a:close/>
                    <a:moveTo>
                      <a:pt x="68413" y="0"/>
                    </a:moveTo>
                    <a:cubicBezTo>
                      <a:pt x="85509" y="0"/>
                      <a:pt x="99497" y="13978"/>
                      <a:pt x="99497" y="31061"/>
                    </a:cubicBezTo>
                    <a:lnTo>
                      <a:pt x="99497" y="70354"/>
                    </a:lnTo>
                    <a:lnTo>
                      <a:pt x="37329" y="70354"/>
                    </a:lnTo>
                    <a:lnTo>
                      <a:pt x="37329" y="31061"/>
                    </a:lnTo>
                    <a:cubicBezTo>
                      <a:pt x="37329" y="13978"/>
                      <a:pt x="51161" y="0"/>
                      <a:pt x="68413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C10682EE-D285-47D3-920D-B57C7B5216A0}"/>
                </a:ext>
              </a:extLst>
            </p:cNvPr>
            <p:cNvGrpSpPr/>
            <p:nvPr/>
          </p:nvGrpSpPr>
          <p:grpSpPr>
            <a:xfrm>
              <a:off x="9876373" y="3113430"/>
              <a:ext cx="935086" cy="1037540"/>
              <a:chOff x="9872261" y="3113430"/>
              <a:chExt cx="935086" cy="1037540"/>
            </a:xfrm>
          </p:grpSpPr>
          <p:sp>
            <p:nvSpPr>
              <p:cNvPr id="26" name="任意多边形: 形状 25">
                <a:extLst>
                  <a:ext uri="{FF2B5EF4-FFF2-40B4-BE49-F238E27FC236}">
                    <a16:creationId xmlns:a16="http://schemas.microsoft.com/office/drawing/2014/main" id="{624E4D78-BC63-4660-909D-22DF8E2971AF}"/>
                  </a:ext>
                </a:extLst>
              </p:cNvPr>
              <p:cNvSpPr/>
              <p:nvPr/>
            </p:nvSpPr>
            <p:spPr bwMode="auto">
              <a:xfrm>
                <a:off x="9872261" y="3113430"/>
                <a:ext cx="935086" cy="1037540"/>
              </a:xfrm>
              <a:custGeom>
                <a:avLst/>
                <a:gdLst>
                  <a:gd name="T0" fmla="*/ 668 w 1369"/>
                  <a:gd name="T1" fmla="*/ 0 h 1519"/>
                  <a:gd name="T2" fmla="*/ 702 w 1369"/>
                  <a:gd name="T3" fmla="*/ 0 h 1519"/>
                  <a:gd name="T4" fmla="*/ 736 w 1369"/>
                  <a:gd name="T5" fmla="*/ 7 h 1519"/>
                  <a:gd name="T6" fmla="*/ 768 w 1369"/>
                  <a:gd name="T7" fmla="*/ 21 h 1519"/>
                  <a:gd name="T8" fmla="*/ 1284 w 1369"/>
                  <a:gd name="T9" fmla="*/ 318 h 1519"/>
                  <a:gd name="T10" fmla="*/ 1313 w 1369"/>
                  <a:gd name="T11" fmla="*/ 339 h 1519"/>
                  <a:gd name="T12" fmla="*/ 1337 w 1369"/>
                  <a:gd name="T13" fmla="*/ 364 h 1519"/>
                  <a:gd name="T14" fmla="*/ 1354 w 1369"/>
                  <a:gd name="T15" fmla="*/ 395 h 1519"/>
                  <a:gd name="T16" fmla="*/ 1364 w 1369"/>
                  <a:gd name="T17" fmla="*/ 429 h 1519"/>
                  <a:gd name="T18" fmla="*/ 1369 w 1369"/>
                  <a:gd name="T19" fmla="*/ 465 h 1519"/>
                  <a:gd name="T20" fmla="*/ 1369 w 1369"/>
                  <a:gd name="T21" fmla="*/ 1054 h 1519"/>
                  <a:gd name="T22" fmla="*/ 1364 w 1369"/>
                  <a:gd name="T23" fmla="*/ 1090 h 1519"/>
                  <a:gd name="T24" fmla="*/ 1354 w 1369"/>
                  <a:gd name="T25" fmla="*/ 1124 h 1519"/>
                  <a:gd name="T26" fmla="*/ 1337 w 1369"/>
                  <a:gd name="T27" fmla="*/ 1154 h 1519"/>
                  <a:gd name="T28" fmla="*/ 1313 w 1369"/>
                  <a:gd name="T29" fmla="*/ 1181 h 1519"/>
                  <a:gd name="T30" fmla="*/ 1284 w 1369"/>
                  <a:gd name="T31" fmla="*/ 1201 h 1519"/>
                  <a:gd name="T32" fmla="*/ 768 w 1369"/>
                  <a:gd name="T33" fmla="*/ 1497 h 1519"/>
                  <a:gd name="T34" fmla="*/ 736 w 1369"/>
                  <a:gd name="T35" fmla="*/ 1512 h 1519"/>
                  <a:gd name="T36" fmla="*/ 702 w 1369"/>
                  <a:gd name="T37" fmla="*/ 1519 h 1519"/>
                  <a:gd name="T38" fmla="*/ 668 w 1369"/>
                  <a:gd name="T39" fmla="*/ 1519 h 1519"/>
                  <a:gd name="T40" fmla="*/ 632 w 1369"/>
                  <a:gd name="T41" fmla="*/ 1512 h 1519"/>
                  <a:gd name="T42" fmla="*/ 599 w 1369"/>
                  <a:gd name="T43" fmla="*/ 1497 h 1519"/>
                  <a:gd name="T44" fmla="*/ 85 w 1369"/>
                  <a:gd name="T45" fmla="*/ 1201 h 1519"/>
                  <a:gd name="T46" fmla="*/ 56 w 1369"/>
                  <a:gd name="T47" fmla="*/ 1181 h 1519"/>
                  <a:gd name="T48" fmla="*/ 32 w 1369"/>
                  <a:gd name="T49" fmla="*/ 1154 h 1519"/>
                  <a:gd name="T50" fmla="*/ 15 w 1369"/>
                  <a:gd name="T51" fmla="*/ 1124 h 1519"/>
                  <a:gd name="T52" fmla="*/ 3 w 1369"/>
                  <a:gd name="T53" fmla="*/ 1090 h 1519"/>
                  <a:gd name="T54" fmla="*/ 0 w 1369"/>
                  <a:gd name="T55" fmla="*/ 1054 h 1519"/>
                  <a:gd name="T56" fmla="*/ 0 w 1369"/>
                  <a:gd name="T57" fmla="*/ 465 h 1519"/>
                  <a:gd name="T58" fmla="*/ 3 w 1369"/>
                  <a:gd name="T59" fmla="*/ 429 h 1519"/>
                  <a:gd name="T60" fmla="*/ 15 w 1369"/>
                  <a:gd name="T61" fmla="*/ 395 h 1519"/>
                  <a:gd name="T62" fmla="*/ 32 w 1369"/>
                  <a:gd name="T63" fmla="*/ 364 h 1519"/>
                  <a:gd name="T64" fmla="*/ 56 w 1369"/>
                  <a:gd name="T65" fmla="*/ 339 h 1519"/>
                  <a:gd name="T66" fmla="*/ 85 w 1369"/>
                  <a:gd name="T67" fmla="*/ 318 h 1519"/>
                  <a:gd name="T68" fmla="*/ 599 w 1369"/>
                  <a:gd name="T69" fmla="*/ 21 h 1519"/>
                  <a:gd name="T70" fmla="*/ 632 w 1369"/>
                  <a:gd name="T71" fmla="*/ 7 h 1519"/>
                  <a:gd name="T72" fmla="*/ 668 w 1369"/>
                  <a:gd name="T73" fmla="*/ 0 h 1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369" h="1519">
                    <a:moveTo>
                      <a:pt x="668" y="0"/>
                    </a:moveTo>
                    <a:lnTo>
                      <a:pt x="702" y="0"/>
                    </a:lnTo>
                    <a:lnTo>
                      <a:pt x="736" y="7"/>
                    </a:lnTo>
                    <a:lnTo>
                      <a:pt x="768" y="21"/>
                    </a:lnTo>
                    <a:lnTo>
                      <a:pt x="1284" y="318"/>
                    </a:lnTo>
                    <a:lnTo>
                      <a:pt x="1313" y="339"/>
                    </a:lnTo>
                    <a:lnTo>
                      <a:pt x="1337" y="364"/>
                    </a:lnTo>
                    <a:lnTo>
                      <a:pt x="1354" y="395"/>
                    </a:lnTo>
                    <a:lnTo>
                      <a:pt x="1364" y="429"/>
                    </a:lnTo>
                    <a:lnTo>
                      <a:pt x="1369" y="465"/>
                    </a:lnTo>
                    <a:lnTo>
                      <a:pt x="1369" y="1054"/>
                    </a:lnTo>
                    <a:lnTo>
                      <a:pt x="1364" y="1090"/>
                    </a:lnTo>
                    <a:lnTo>
                      <a:pt x="1354" y="1124"/>
                    </a:lnTo>
                    <a:lnTo>
                      <a:pt x="1337" y="1154"/>
                    </a:lnTo>
                    <a:lnTo>
                      <a:pt x="1313" y="1181"/>
                    </a:lnTo>
                    <a:lnTo>
                      <a:pt x="1284" y="1201"/>
                    </a:lnTo>
                    <a:lnTo>
                      <a:pt x="768" y="1497"/>
                    </a:lnTo>
                    <a:lnTo>
                      <a:pt x="736" y="1512"/>
                    </a:lnTo>
                    <a:lnTo>
                      <a:pt x="702" y="1519"/>
                    </a:lnTo>
                    <a:lnTo>
                      <a:pt x="668" y="1519"/>
                    </a:lnTo>
                    <a:lnTo>
                      <a:pt x="632" y="1512"/>
                    </a:lnTo>
                    <a:lnTo>
                      <a:pt x="599" y="1497"/>
                    </a:lnTo>
                    <a:lnTo>
                      <a:pt x="85" y="1201"/>
                    </a:lnTo>
                    <a:lnTo>
                      <a:pt x="56" y="1181"/>
                    </a:lnTo>
                    <a:lnTo>
                      <a:pt x="32" y="1154"/>
                    </a:lnTo>
                    <a:lnTo>
                      <a:pt x="15" y="1124"/>
                    </a:lnTo>
                    <a:lnTo>
                      <a:pt x="3" y="1090"/>
                    </a:lnTo>
                    <a:lnTo>
                      <a:pt x="0" y="1054"/>
                    </a:lnTo>
                    <a:lnTo>
                      <a:pt x="0" y="465"/>
                    </a:lnTo>
                    <a:lnTo>
                      <a:pt x="3" y="429"/>
                    </a:lnTo>
                    <a:lnTo>
                      <a:pt x="15" y="395"/>
                    </a:lnTo>
                    <a:lnTo>
                      <a:pt x="32" y="364"/>
                    </a:lnTo>
                    <a:lnTo>
                      <a:pt x="56" y="339"/>
                    </a:lnTo>
                    <a:lnTo>
                      <a:pt x="85" y="318"/>
                    </a:lnTo>
                    <a:lnTo>
                      <a:pt x="599" y="21"/>
                    </a:lnTo>
                    <a:lnTo>
                      <a:pt x="632" y="7"/>
                    </a:lnTo>
                    <a:lnTo>
                      <a:pt x="668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7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 lang="ru-RU" sz="1600" i="1" u="sng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E00ECBEE-7D9C-472B-BB72-BF1149D0E1D9}"/>
                  </a:ext>
                </a:extLst>
              </p:cNvPr>
              <p:cNvSpPr/>
              <p:nvPr/>
            </p:nvSpPr>
            <p:spPr>
              <a:xfrm>
                <a:off x="10113455" y="3419109"/>
                <a:ext cx="452698" cy="426183"/>
              </a:xfrm>
              <a:custGeom>
                <a:avLst/>
                <a:gdLst>
                  <a:gd name="connsiteX0" fmla="*/ 87165 w 606240"/>
                  <a:gd name="connsiteY0" fmla="*/ 422475 h 570733"/>
                  <a:gd name="connsiteX1" fmla="*/ 331445 w 606240"/>
                  <a:gd name="connsiteY1" fmla="*/ 422475 h 570733"/>
                  <a:gd name="connsiteX2" fmla="*/ 319381 w 606240"/>
                  <a:gd name="connsiteY2" fmla="*/ 455711 h 570733"/>
                  <a:gd name="connsiteX3" fmla="*/ 87165 w 606240"/>
                  <a:gd name="connsiteY3" fmla="*/ 455711 h 570733"/>
                  <a:gd name="connsiteX4" fmla="*/ 70424 w 606240"/>
                  <a:gd name="connsiteY4" fmla="*/ 439093 h 570733"/>
                  <a:gd name="connsiteX5" fmla="*/ 87165 w 606240"/>
                  <a:gd name="connsiteY5" fmla="*/ 422475 h 570733"/>
                  <a:gd name="connsiteX6" fmla="*/ 87162 w 606240"/>
                  <a:gd name="connsiteY6" fmla="*/ 355932 h 570733"/>
                  <a:gd name="connsiteX7" fmla="*/ 362071 w 606240"/>
                  <a:gd name="connsiteY7" fmla="*/ 355932 h 570733"/>
                  <a:gd name="connsiteX8" fmla="*/ 353188 w 606240"/>
                  <a:gd name="connsiteY8" fmla="*/ 373871 h 570733"/>
                  <a:gd name="connsiteX9" fmla="*/ 345988 w 606240"/>
                  <a:gd name="connsiteY9" fmla="*/ 389380 h 570733"/>
                  <a:gd name="connsiteX10" fmla="*/ 87162 w 606240"/>
                  <a:gd name="connsiteY10" fmla="*/ 389380 h 570733"/>
                  <a:gd name="connsiteX11" fmla="*/ 70424 w 606240"/>
                  <a:gd name="connsiteY11" fmla="*/ 372656 h 570733"/>
                  <a:gd name="connsiteX12" fmla="*/ 87162 w 606240"/>
                  <a:gd name="connsiteY12" fmla="*/ 355932 h 570733"/>
                  <a:gd name="connsiteX13" fmla="*/ 87163 w 606240"/>
                  <a:gd name="connsiteY13" fmla="*/ 289389 h 570733"/>
                  <a:gd name="connsiteX14" fmla="*/ 367701 w 606240"/>
                  <a:gd name="connsiteY14" fmla="*/ 289389 h 570733"/>
                  <a:gd name="connsiteX15" fmla="*/ 384440 w 606240"/>
                  <a:gd name="connsiteY15" fmla="*/ 306089 h 570733"/>
                  <a:gd name="connsiteX16" fmla="*/ 367795 w 606240"/>
                  <a:gd name="connsiteY16" fmla="*/ 322696 h 570733"/>
                  <a:gd name="connsiteX17" fmla="*/ 87163 w 606240"/>
                  <a:gd name="connsiteY17" fmla="*/ 322696 h 570733"/>
                  <a:gd name="connsiteX18" fmla="*/ 70424 w 606240"/>
                  <a:gd name="connsiteY18" fmla="*/ 306089 h 570733"/>
                  <a:gd name="connsiteX19" fmla="*/ 87163 w 606240"/>
                  <a:gd name="connsiteY19" fmla="*/ 289389 h 570733"/>
                  <a:gd name="connsiteX20" fmla="*/ 212536 w 606240"/>
                  <a:gd name="connsiteY20" fmla="*/ 222916 h 570733"/>
                  <a:gd name="connsiteX21" fmla="*/ 369182 w 606240"/>
                  <a:gd name="connsiteY21" fmla="*/ 222916 h 570733"/>
                  <a:gd name="connsiteX22" fmla="*/ 385922 w 606240"/>
                  <a:gd name="connsiteY22" fmla="*/ 239616 h 570733"/>
                  <a:gd name="connsiteX23" fmla="*/ 369182 w 606240"/>
                  <a:gd name="connsiteY23" fmla="*/ 256223 h 570733"/>
                  <a:gd name="connsiteX24" fmla="*/ 212536 w 606240"/>
                  <a:gd name="connsiteY24" fmla="*/ 256223 h 570733"/>
                  <a:gd name="connsiteX25" fmla="*/ 195889 w 606240"/>
                  <a:gd name="connsiteY25" fmla="*/ 239616 h 570733"/>
                  <a:gd name="connsiteX26" fmla="*/ 212536 w 606240"/>
                  <a:gd name="connsiteY26" fmla="*/ 222916 h 570733"/>
                  <a:gd name="connsiteX27" fmla="*/ 551652 w 606240"/>
                  <a:gd name="connsiteY27" fmla="*/ 116932 h 570733"/>
                  <a:gd name="connsiteX28" fmla="*/ 567829 w 606240"/>
                  <a:gd name="connsiteY28" fmla="*/ 121601 h 570733"/>
                  <a:gd name="connsiteX29" fmla="*/ 583444 w 606240"/>
                  <a:gd name="connsiteY29" fmla="*/ 152602 h 570733"/>
                  <a:gd name="connsiteX30" fmla="*/ 581948 w 606240"/>
                  <a:gd name="connsiteY30" fmla="*/ 158391 h 570733"/>
                  <a:gd name="connsiteX31" fmla="*/ 575403 w 606240"/>
                  <a:gd name="connsiteY31" fmla="*/ 175946 h 570733"/>
                  <a:gd name="connsiteX32" fmla="*/ 590738 w 606240"/>
                  <a:gd name="connsiteY32" fmla="*/ 184817 h 570733"/>
                  <a:gd name="connsiteX33" fmla="*/ 600276 w 606240"/>
                  <a:gd name="connsiteY33" fmla="*/ 190326 h 570733"/>
                  <a:gd name="connsiteX34" fmla="*/ 604764 w 606240"/>
                  <a:gd name="connsiteY34" fmla="*/ 206760 h 570733"/>
                  <a:gd name="connsiteX35" fmla="*/ 523786 w 606240"/>
                  <a:gd name="connsiteY35" fmla="*/ 345890 h 570733"/>
                  <a:gd name="connsiteX36" fmla="*/ 521168 w 606240"/>
                  <a:gd name="connsiteY36" fmla="*/ 347010 h 570733"/>
                  <a:gd name="connsiteX37" fmla="*/ 510602 w 606240"/>
                  <a:gd name="connsiteY37" fmla="*/ 323293 h 570733"/>
                  <a:gd name="connsiteX38" fmla="*/ 579891 w 606240"/>
                  <a:gd name="connsiteY38" fmla="*/ 204145 h 570733"/>
                  <a:gd name="connsiteX39" fmla="*/ 565678 w 606240"/>
                  <a:gd name="connsiteY39" fmla="*/ 195928 h 570733"/>
                  <a:gd name="connsiteX40" fmla="*/ 559226 w 606240"/>
                  <a:gd name="connsiteY40" fmla="*/ 207227 h 570733"/>
                  <a:gd name="connsiteX41" fmla="*/ 524067 w 606240"/>
                  <a:gd name="connsiteY41" fmla="*/ 266240 h 570733"/>
                  <a:gd name="connsiteX42" fmla="*/ 497043 w 606240"/>
                  <a:gd name="connsiteY42" fmla="*/ 309566 h 570733"/>
                  <a:gd name="connsiteX43" fmla="*/ 384833 w 606240"/>
                  <a:gd name="connsiteY43" fmla="*/ 463356 h 570733"/>
                  <a:gd name="connsiteX44" fmla="*/ 356500 w 606240"/>
                  <a:gd name="connsiteY44" fmla="*/ 490435 h 570733"/>
                  <a:gd name="connsiteX45" fmla="*/ 343128 w 606240"/>
                  <a:gd name="connsiteY45" fmla="*/ 494450 h 570733"/>
                  <a:gd name="connsiteX46" fmla="*/ 340323 w 606240"/>
                  <a:gd name="connsiteY46" fmla="*/ 480911 h 570733"/>
                  <a:gd name="connsiteX47" fmla="*/ 342661 w 606240"/>
                  <a:gd name="connsiteY47" fmla="*/ 468679 h 570733"/>
                  <a:gd name="connsiteX48" fmla="*/ 376791 w 606240"/>
                  <a:gd name="connsiteY48" fmla="*/ 385388 h 570733"/>
                  <a:gd name="connsiteX49" fmla="*/ 441686 w 606240"/>
                  <a:gd name="connsiteY49" fmla="*/ 265120 h 570733"/>
                  <a:gd name="connsiteX50" fmla="*/ 463099 w 606240"/>
                  <a:gd name="connsiteY50" fmla="*/ 229543 h 570733"/>
                  <a:gd name="connsiteX51" fmla="*/ 517708 w 606240"/>
                  <a:gd name="connsiteY51" fmla="*/ 144758 h 570733"/>
                  <a:gd name="connsiteX52" fmla="*/ 536316 w 606240"/>
                  <a:gd name="connsiteY52" fmla="*/ 124029 h 570733"/>
                  <a:gd name="connsiteX53" fmla="*/ 551652 w 606240"/>
                  <a:gd name="connsiteY53" fmla="*/ 116932 h 570733"/>
                  <a:gd name="connsiteX54" fmla="*/ 133805 w 606240"/>
                  <a:gd name="connsiteY54" fmla="*/ 87970 h 570733"/>
                  <a:gd name="connsiteX55" fmla="*/ 144376 w 606240"/>
                  <a:gd name="connsiteY55" fmla="*/ 98240 h 570733"/>
                  <a:gd name="connsiteX56" fmla="*/ 151860 w 606240"/>
                  <a:gd name="connsiteY56" fmla="*/ 106736 h 570733"/>
                  <a:gd name="connsiteX57" fmla="*/ 168230 w 606240"/>
                  <a:gd name="connsiteY57" fmla="*/ 111310 h 570733"/>
                  <a:gd name="connsiteX58" fmla="*/ 171317 w 606240"/>
                  <a:gd name="connsiteY58" fmla="*/ 117566 h 570733"/>
                  <a:gd name="connsiteX59" fmla="*/ 167575 w 606240"/>
                  <a:gd name="connsiteY59" fmla="*/ 131103 h 570733"/>
                  <a:gd name="connsiteX60" fmla="*/ 160840 w 606240"/>
                  <a:gd name="connsiteY60" fmla="*/ 134091 h 570733"/>
                  <a:gd name="connsiteX61" fmla="*/ 135021 w 606240"/>
                  <a:gd name="connsiteY61" fmla="*/ 129423 h 570733"/>
                  <a:gd name="connsiteX62" fmla="*/ 128193 w 606240"/>
                  <a:gd name="connsiteY62" fmla="*/ 130917 h 570733"/>
                  <a:gd name="connsiteX63" fmla="*/ 126041 w 606240"/>
                  <a:gd name="connsiteY63" fmla="*/ 148189 h 570733"/>
                  <a:gd name="connsiteX64" fmla="*/ 137267 w 606240"/>
                  <a:gd name="connsiteY64" fmla="*/ 154257 h 570733"/>
                  <a:gd name="connsiteX65" fmla="*/ 157846 w 606240"/>
                  <a:gd name="connsiteY65" fmla="*/ 163220 h 570733"/>
                  <a:gd name="connsiteX66" fmla="*/ 170475 w 606240"/>
                  <a:gd name="connsiteY66" fmla="*/ 218678 h 570733"/>
                  <a:gd name="connsiteX67" fmla="*/ 150363 w 606240"/>
                  <a:gd name="connsiteY67" fmla="*/ 231935 h 570733"/>
                  <a:gd name="connsiteX68" fmla="*/ 145499 w 606240"/>
                  <a:gd name="connsiteY68" fmla="*/ 238471 h 570733"/>
                  <a:gd name="connsiteX69" fmla="*/ 145592 w 606240"/>
                  <a:gd name="connsiteY69" fmla="*/ 249114 h 570733"/>
                  <a:gd name="connsiteX70" fmla="*/ 140915 w 606240"/>
                  <a:gd name="connsiteY70" fmla="*/ 254249 h 570733"/>
                  <a:gd name="connsiteX71" fmla="*/ 129315 w 606240"/>
                  <a:gd name="connsiteY71" fmla="*/ 254529 h 570733"/>
                  <a:gd name="connsiteX72" fmla="*/ 124170 w 606240"/>
                  <a:gd name="connsiteY72" fmla="*/ 249301 h 570733"/>
                  <a:gd name="connsiteX73" fmla="*/ 123890 w 606240"/>
                  <a:gd name="connsiteY73" fmla="*/ 241458 h 570733"/>
                  <a:gd name="connsiteX74" fmla="*/ 117903 w 606240"/>
                  <a:gd name="connsiteY74" fmla="*/ 234549 h 570733"/>
                  <a:gd name="connsiteX75" fmla="*/ 97229 w 606240"/>
                  <a:gd name="connsiteY75" fmla="*/ 228948 h 570733"/>
                  <a:gd name="connsiteX76" fmla="*/ 92833 w 606240"/>
                  <a:gd name="connsiteY76" fmla="*/ 219891 h 570733"/>
                  <a:gd name="connsiteX77" fmla="*/ 96107 w 606240"/>
                  <a:gd name="connsiteY77" fmla="*/ 207941 h 570733"/>
                  <a:gd name="connsiteX78" fmla="*/ 102936 w 606240"/>
                  <a:gd name="connsiteY78" fmla="*/ 204860 h 570733"/>
                  <a:gd name="connsiteX79" fmla="*/ 126041 w 606240"/>
                  <a:gd name="connsiteY79" fmla="*/ 211302 h 570733"/>
                  <a:gd name="connsiteX80" fmla="*/ 141008 w 606240"/>
                  <a:gd name="connsiteY80" fmla="*/ 209061 h 570733"/>
                  <a:gd name="connsiteX81" fmla="*/ 143534 w 606240"/>
                  <a:gd name="connsiteY81" fmla="*/ 188521 h 570733"/>
                  <a:gd name="connsiteX82" fmla="*/ 134928 w 606240"/>
                  <a:gd name="connsiteY82" fmla="*/ 183667 h 570733"/>
                  <a:gd name="connsiteX83" fmla="*/ 111355 w 606240"/>
                  <a:gd name="connsiteY83" fmla="*/ 173490 h 570733"/>
                  <a:gd name="connsiteX84" fmla="*/ 92084 w 606240"/>
                  <a:gd name="connsiteY84" fmla="*/ 142120 h 570733"/>
                  <a:gd name="connsiteX85" fmla="*/ 117154 w 606240"/>
                  <a:gd name="connsiteY85" fmla="*/ 109350 h 570733"/>
                  <a:gd name="connsiteX86" fmla="*/ 123515 w 606240"/>
                  <a:gd name="connsiteY86" fmla="*/ 100667 h 570733"/>
                  <a:gd name="connsiteX87" fmla="*/ 123422 w 606240"/>
                  <a:gd name="connsiteY87" fmla="*/ 94038 h 570733"/>
                  <a:gd name="connsiteX88" fmla="*/ 129128 w 606240"/>
                  <a:gd name="connsiteY88" fmla="*/ 88063 h 570733"/>
                  <a:gd name="connsiteX89" fmla="*/ 133805 w 606240"/>
                  <a:gd name="connsiteY89" fmla="*/ 87970 h 570733"/>
                  <a:gd name="connsiteX90" fmla="*/ 70698 w 606240"/>
                  <a:gd name="connsiteY90" fmla="*/ 0 h 570733"/>
                  <a:gd name="connsiteX91" fmla="*/ 302245 w 606240"/>
                  <a:gd name="connsiteY91" fmla="*/ 0 h 570733"/>
                  <a:gd name="connsiteX92" fmla="*/ 314215 w 606240"/>
                  <a:gd name="connsiteY92" fmla="*/ 2428 h 570733"/>
                  <a:gd name="connsiteX93" fmla="*/ 324409 w 606240"/>
                  <a:gd name="connsiteY93" fmla="*/ 8964 h 570733"/>
                  <a:gd name="connsiteX94" fmla="*/ 445045 w 606240"/>
                  <a:gd name="connsiteY94" fmla="*/ 124754 h 570733"/>
                  <a:gd name="connsiteX95" fmla="*/ 452246 w 606240"/>
                  <a:gd name="connsiteY95" fmla="*/ 135213 h 570733"/>
                  <a:gd name="connsiteX96" fmla="*/ 454770 w 606240"/>
                  <a:gd name="connsiteY96" fmla="*/ 147726 h 570733"/>
                  <a:gd name="connsiteX97" fmla="*/ 454770 w 606240"/>
                  <a:gd name="connsiteY97" fmla="*/ 193108 h 570733"/>
                  <a:gd name="connsiteX98" fmla="*/ 452246 w 606240"/>
                  <a:gd name="connsiteY98" fmla="*/ 197123 h 570733"/>
                  <a:gd name="connsiteX99" fmla="*/ 425780 w 606240"/>
                  <a:gd name="connsiteY99" fmla="*/ 240731 h 570733"/>
                  <a:gd name="connsiteX100" fmla="*/ 422788 w 606240"/>
                  <a:gd name="connsiteY100" fmla="*/ 245400 h 570733"/>
                  <a:gd name="connsiteX101" fmla="*/ 421479 w 606240"/>
                  <a:gd name="connsiteY101" fmla="*/ 247828 h 570733"/>
                  <a:gd name="connsiteX102" fmla="*/ 421479 w 606240"/>
                  <a:gd name="connsiteY102" fmla="*/ 157811 h 570733"/>
                  <a:gd name="connsiteX103" fmla="*/ 362376 w 606240"/>
                  <a:gd name="connsiteY103" fmla="*/ 157811 h 570733"/>
                  <a:gd name="connsiteX104" fmla="*/ 291678 w 606240"/>
                  <a:gd name="connsiteY104" fmla="*/ 87216 h 570733"/>
                  <a:gd name="connsiteX105" fmla="*/ 291678 w 606240"/>
                  <a:gd name="connsiteY105" fmla="*/ 33150 h 570733"/>
                  <a:gd name="connsiteX106" fmla="*/ 70698 w 606240"/>
                  <a:gd name="connsiteY106" fmla="*/ 33150 h 570733"/>
                  <a:gd name="connsiteX107" fmla="*/ 33385 w 606240"/>
                  <a:gd name="connsiteY107" fmla="*/ 70408 h 570733"/>
                  <a:gd name="connsiteX108" fmla="*/ 33385 w 606240"/>
                  <a:gd name="connsiteY108" fmla="*/ 499952 h 570733"/>
                  <a:gd name="connsiteX109" fmla="*/ 70698 w 606240"/>
                  <a:gd name="connsiteY109" fmla="*/ 537116 h 570733"/>
                  <a:gd name="connsiteX110" fmla="*/ 384166 w 606240"/>
                  <a:gd name="connsiteY110" fmla="*/ 537116 h 570733"/>
                  <a:gd name="connsiteX111" fmla="*/ 421479 w 606240"/>
                  <a:gd name="connsiteY111" fmla="*/ 499952 h 570733"/>
                  <a:gd name="connsiteX112" fmla="*/ 421572 w 606240"/>
                  <a:gd name="connsiteY112" fmla="*/ 499952 h 570733"/>
                  <a:gd name="connsiteX113" fmla="*/ 421572 w 606240"/>
                  <a:gd name="connsiteY113" fmla="*/ 460452 h 570733"/>
                  <a:gd name="connsiteX114" fmla="*/ 454864 w 606240"/>
                  <a:gd name="connsiteY114" fmla="*/ 417778 h 570733"/>
                  <a:gd name="connsiteX115" fmla="*/ 454864 w 606240"/>
                  <a:gd name="connsiteY115" fmla="*/ 500138 h 570733"/>
                  <a:gd name="connsiteX116" fmla="*/ 384166 w 606240"/>
                  <a:gd name="connsiteY116" fmla="*/ 570733 h 570733"/>
                  <a:gd name="connsiteX117" fmla="*/ 70698 w 606240"/>
                  <a:gd name="connsiteY117" fmla="*/ 570733 h 570733"/>
                  <a:gd name="connsiteX118" fmla="*/ 0 w 606240"/>
                  <a:gd name="connsiteY118" fmla="*/ 500138 h 570733"/>
                  <a:gd name="connsiteX119" fmla="*/ 0 w 606240"/>
                  <a:gd name="connsiteY119" fmla="*/ 70595 h 570733"/>
                  <a:gd name="connsiteX120" fmla="*/ 70698 w 606240"/>
                  <a:gd name="connsiteY120" fmla="*/ 0 h 570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</a:cxnLst>
                <a:rect l="l" t="t" r="r" b="b"/>
                <a:pathLst>
                  <a:path w="606240" h="570733">
                    <a:moveTo>
                      <a:pt x="87165" y="422475"/>
                    </a:moveTo>
                    <a:lnTo>
                      <a:pt x="331445" y="422475"/>
                    </a:lnTo>
                    <a:cubicBezTo>
                      <a:pt x="326956" y="433585"/>
                      <a:pt x="322934" y="444508"/>
                      <a:pt x="319381" y="455711"/>
                    </a:cubicBezTo>
                    <a:lnTo>
                      <a:pt x="87165" y="455711"/>
                    </a:lnTo>
                    <a:cubicBezTo>
                      <a:pt x="77906" y="455711"/>
                      <a:pt x="70424" y="448149"/>
                      <a:pt x="70424" y="439093"/>
                    </a:cubicBezTo>
                    <a:cubicBezTo>
                      <a:pt x="70424" y="429944"/>
                      <a:pt x="77906" y="422475"/>
                      <a:pt x="87165" y="422475"/>
                    </a:cubicBezTo>
                    <a:close/>
                    <a:moveTo>
                      <a:pt x="87162" y="355932"/>
                    </a:moveTo>
                    <a:lnTo>
                      <a:pt x="362071" y="355932"/>
                    </a:lnTo>
                    <a:cubicBezTo>
                      <a:pt x="359079" y="361912"/>
                      <a:pt x="356087" y="367891"/>
                      <a:pt x="353188" y="373871"/>
                    </a:cubicBezTo>
                    <a:cubicBezTo>
                      <a:pt x="350757" y="379103"/>
                      <a:pt x="348232" y="384241"/>
                      <a:pt x="345988" y="389380"/>
                    </a:cubicBezTo>
                    <a:lnTo>
                      <a:pt x="87162" y="389380"/>
                    </a:lnTo>
                    <a:cubicBezTo>
                      <a:pt x="77905" y="389380"/>
                      <a:pt x="70424" y="381719"/>
                      <a:pt x="70424" y="372656"/>
                    </a:cubicBezTo>
                    <a:cubicBezTo>
                      <a:pt x="70424" y="363406"/>
                      <a:pt x="78092" y="355932"/>
                      <a:pt x="87162" y="355932"/>
                    </a:cubicBezTo>
                    <a:close/>
                    <a:moveTo>
                      <a:pt x="87163" y="289389"/>
                    </a:moveTo>
                    <a:lnTo>
                      <a:pt x="367701" y="289389"/>
                    </a:lnTo>
                    <a:cubicBezTo>
                      <a:pt x="376959" y="289389"/>
                      <a:pt x="384440" y="296946"/>
                      <a:pt x="384440" y="306089"/>
                    </a:cubicBezTo>
                    <a:cubicBezTo>
                      <a:pt x="384440" y="315232"/>
                      <a:pt x="376959" y="322696"/>
                      <a:pt x="367795" y="322696"/>
                    </a:cubicBezTo>
                    <a:lnTo>
                      <a:pt x="87163" y="322696"/>
                    </a:lnTo>
                    <a:cubicBezTo>
                      <a:pt x="77905" y="322696"/>
                      <a:pt x="70424" y="315232"/>
                      <a:pt x="70424" y="306089"/>
                    </a:cubicBezTo>
                    <a:cubicBezTo>
                      <a:pt x="70424" y="296853"/>
                      <a:pt x="78092" y="289389"/>
                      <a:pt x="87163" y="289389"/>
                    </a:cubicBezTo>
                    <a:close/>
                    <a:moveTo>
                      <a:pt x="212536" y="222916"/>
                    </a:moveTo>
                    <a:lnTo>
                      <a:pt x="369182" y="222916"/>
                    </a:lnTo>
                    <a:cubicBezTo>
                      <a:pt x="378253" y="222916"/>
                      <a:pt x="385735" y="230380"/>
                      <a:pt x="385922" y="239616"/>
                    </a:cubicBezTo>
                    <a:cubicBezTo>
                      <a:pt x="385922" y="248759"/>
                      <a:pt x="378253" y="256223"/>
                      <a:pt x="369182" y="256223"/>
                    </a:cubicBezTo>
                    <a:lnTo>
                      <a:pt x="212536" y="256223"/>
                    </a:lnTo>
                    <a:cubicBezTo>
                      <a:pt x="203371" y="256223"/>
                      <a:pt x="195889" y="248666"/>
                      <a:pt x="195889" y="239616"/>
                    </a:cubicBezTo>
                    <a:cubicBezTo>
                      <a:pt x="195889" y="230380"/>
                      <a:pt x="203464" y="222916"/>
                      <a:pt x="212536" y="222916"/>
                    </a:cubicBezTo>
                    <a:close/>
                    <a:moveTo>
                      <a:pt x="551652" y="116932"/>
                    </a:moveTo>
                    <a:cubicBezTo>
                      <a:pt x="556748" y="116536"/>
                      <a:pt x="561984" y="118100"/>
                      <a:pt x="567829" y="121601"/>
                    </a:cubicBezTo>
                    <a:cubicBezTo>
                      <a:pt x="581387" y="129631"/>
                      <a:pt x="586156" y="138969"/>
                      <a:pt x="583444" y="152602"/>
                    </a:cubicBezTo>
                    <a:cubicBezTo>
                      <a:pt x="583070" y="154563"/>
                      <a:pt x="582416" y="156430"/>
                      <a:pt x="581948" y="158391"/>
                    </a:cubicBezTo>
                    <a:cubicBezTo>
                      <a:pt x="580172" y="164367"/>
                      <a:pt x="577927" y="170250"/>
                      <a:pt x="575403" y="175946"/>
                    </a:cubicBezTo>
                    <a:lnTo>
                      <a:pt x="590738" y="184817"/>
                    </a:lnTo>
                    <a:lnTo>
                      <a:pt x="600276" y="190326"/>
                    </a:lnTo>
                    <a:cubicBezTo>
                      <a:pt x="605980" y="193687"/>
                      <a:pt x="607850" y="200877"/>
                      <a:pt x="604764" y="206760"/>
                    </a:cubicBezTo>
                    <a:lnTo>
                      <a:pt x="523786" y="345890"/>
                    </a:lnTo>
                    <a:cubicBezTo>
                      <a:pt x="523319" y="346823"/>
                      <a:pt x="522197" y="347290"/>
                      <a:pt x="521168" y="347010"/>
                    </a:cubicBezTo>
                    <a:cubicBezTo>
                      <a:pt x="509947" y="344396"/>
                      <a:pt x="505365" y="332350"/>
                      <a:pt x="510602" y="323293"/>
                    </a:cubicBezTo>
                    <a:lnTo>
                      <a:pt x="579891" y="204145"/>
                    </a:lnTo>
                    <a:lnTo>
                      <a:pt x="565678" y="195928"/>
                    </a:lnTo>
                    <a:cubicBezTo>
                      <a:pt x="563621" y="199663"/>
                      <a:pt x="561376" y="203492"/>
                      <a:pt x="559226" y="207227"/>
                    </a:cubicBezTo>
                    <a:cubicBezTo>
                      <a:pt x="547724" y="227022"/>
                      <a:pt x="535662" y="246444"/>
                      <a:pt x="524067" y="266240"/>
                    </a:cubicBezTo>
                    <a:lnTo>
                      <a:pt x="497043" y="309566"/>
                    </a:lnTo>
                    <a:cubicBezTo>
                      <a:pt x="462632" y="363071"/>
                      <a:pt x="426818" y="415361"/>
                      <a:pt x="384833" y="463356"/>
                    </a:cubicBezTo>
                    <a:cubicBezTo>
                      <a:pt x="376230" y="473161"/>
                      <a:pt x="367254" y="482778"/>
                      <a:pt x="356500" y="490435"/>
                    </a:cubicBezTo>
                    <a:cubicBezTo>
                      <a:pt x="352479" y="493330"/>
                      <a:pt x="348178" y="497345"/>
                      <a:pt x="343128" y="494450"/>
                    </a:cubicBezTo>
                    <a:cubicBezTo>
                      <a:pt x="338079" y="491462"/>
                      <a:pt x="339762" y="485580"/>
                      <a:pt x="340323" y="480911"/>
                    </a:cubicBezTo>
                    <a:cubicBezTo>
                      <a:pt x="340697" y="476802"/>
                      <a:pt x="341819" y="472694"/>
                      <a:pt x="342661" y="468679"/>
                    </a:cubicBezTo>
                    <a:cubicBezTo>
                      <a:pt x="351357" y="439826"/>
                      <a:pt x="363700" y="412373"/>
                      <a:pt x="376791" y="385388"/>
                    </a:cubicBezTo>
                    <a:cubicBezTo>
                      <a:pt x="396615" y="344302"/>
                      <a:pt x="418496" y="304337"/>
                      <a:pt x="441686" y="265120"/>
                    </a:cubicBezTo>
                    <a:lnTo>
                      <a:pt x="463099" y="229543"/>
                    </a:lnTo>
                    <a:cubicBezTo>
                      <a:pt x="480772" y="200971"/>
                      <a:pt x="497791" y="171837"/>
                      <a:pt x="517708" y="144758"/>
                    </a:cubicBezTo>
                    <a:cubicBezTo>
                      <a:pt x="523225" y="137288"/>
                      <a:pt x="529023" y="130005"/>
                      <a:pt x="536316" y="124029"/>
                    </a:cubicBezTo>
                    <a:cubicBezTo>
                      <a:pt x="541600" y="119687"/>
                      <a:pt x="546555" y="117329"/>
                      <a:pt x="551652" y="116932"/>
                    </a:cubicBezTo>
                    <a:close/>
                    <a:moveTo>
                      <a:pt x="133805" y="87970"/>
                    </a:moveTo>
                    <a:cubicBezTo>
                      <a:pt x="144095" y="87783"/>
                      <a:pt x="144095" y="87783"/>
                      <a:pt x="144376" y="98240"/>
                    </a:cubicBezTo>
                    <a:cubicBezTo>
                      <a:pt x="144470" y="105615"/>
                      <a:pt x="144470" y="105709"/>
                      <a:pt x="151860" y="106736"/>
                    </a:cubicBezTo>
                    <a:cubicBezTo>
                      <a:pt x="157472" y="107483"/>
                      <a:pt x="162991" y="109070"/>
                      <a:pt x="168230" y="111310"/>
                    </a:cubicBezTo>
                    <a:cubicBezTo>
                      <a:pt x="171036" y="112618"/>
                      <a:pt x="172159" y="114578"/>
                      <a:pt x="171317" y="117566"/>
                    </a:cubicBezTo>
                    <a:cubicBezTo>
                      <a:pt x="170101" y="122047"/>
                      <a:pt x="168978" y="126622"/>
                      <a:pt x="167575" y="131103"/>
                    </a:cubicBezTo>
                    <a:cubicBezTo>
                      <a:pt x="166359" y="135398"/>
                      <a:pt x="164956" y="135958"/>
                      <a:pt x="160840" y="134091"/>
                    </a:cubicBezTo>
                    <a:cubicBezTo>
                      <a:pt x="152608" y="130263"/>
                      <a:pt x="144002" y="128769"/>
                      <a:pt x="135021" y="129423"/>
                    </a:cubicBezTo>
                    <a:cubicBezTo>
                      <a:pt x="132683" y="129516"/>
                      <a:pt x="130251" y="129890"/>
                      <a:pt x="128193" y="130917"/>
                    </a:cubicBezTo>
                    <a:cubicBezTo>
                      <a:pt x="120428" y="134371"/>
                      <a:pt x="119306" y="142960"/>
                      <a:pt x="126041" y="148189"/>
                    </a:cubicBezTo>
                    <a:cubicBezTo>
                      <a:pt x="129409" y="150803"/>
                      <a:pt x="133244" y="152670"/>
                      <a:pt x="137267" y="154257"/>
                    </a:cubicBezTo>
                    <a:cubicBezTo>
                      <a:pt x="144282" y="157152"/>
                      <a:pt x="151205" y="159766"/>
                      <a:pt x="157846" y="163220"/>
                    </a:cubicBezTo>
                    <a:cubicBezTo>
                      <a:pt x="178894" y="174424"/>
                      <a:pt x="184881" y="200565"/>
                      <a:pt x="170475" y="218678"/>
                    </a:cubicBezTo>
                    <a:cubicBezTo>
                      <a:pt x="165237" y="225213"/>
                      <a:pt x="158501" y="229601"/>
                      <a:pt x="150363" y="231935"/>
                    </a:cubicBezTo>
                    <a:cubicBezTo>
                      <a:pt x="146902" y="232962"/>
                      <a:pt x="145218" y="234829"/>
                      <a:pt x="145499" y="238471"/>
                    </a:cubicBezTo>
                    <a:cubicBezTo>
                      <a:pt x="145779" y="241925"/>
                      <a:pt x="145592" y="245566"/>
                      <a:pt x="145592" y="249114"/>
                    </a:cubicBezTo>
                    <a:cubicBezTo>
                      <a:pt x="145592" y="252382"/>
                      <a:pt x="144002" y="254156"/>
                      <a:pt x="140915" y="254249"/>
                    </a:cubicBezTo>
                    <a:cubicBezTo>
                      <a:pt x="136986" y="254529"/>
                      <a:pt x="133151" y="254529"/>
                      <a:pt x="129315" y="254529"/>
                    </a:cubicBezTo>
                    <a:cubicBezTo>
                      <a:pt x="125948" y="254529"/>
                      <a:pt x="124264" y="252662"/>
                      <a:pt x="124170" y="249301"/>
                    </a:cubicBezTo>
                    <a:cubicBezTo>
                      <a:pt x="124077" y="246687"/>
                      <a:pt x="124077" y="244072"/>
                      <a:pt x="123890" y="241458"/>
                    </a:cubicBezTo>
                    <a:cubicBezTo>
                      <a:pt x="123703" y="235576"/>
                      <a:pt x="123515" y="235296"/>
                      <a:pt x="117903" y="234549"/>
                    </a:cubicBezTo>
                    <a:cubicBezTo>
                      <a:pt x="110793" y="233616"/>
                      <a:pt x="103871" y="232122"/>
                      <a:pt x="97229" y="228948"/>
                    </a:cubicBezTo>
                    <a:cubicBezTo>
                      <a:pt x="91991" y="226614"/>
                      <a:pt x="91523" y="225213"/>
                      <a:pt x="92833" y="219891"/>
                    </a:cubicBezTo>
                    <a:cubicBezTo>
                      <a:pt x="93862" y="215877"/>
                      <a:pt x="94984" y="211956"/>
                      <a:pt x="96107" y="207941"/>
                    </a:cubicBezTo>
                    <a:cubicBezTo>
                      <a:pt x="97510" y="203366"/>
                      <a:pt x="98726" y="202713"/>
                      <a:pt x="102936" y="204860"/>
                    </a:cubicBezTo>
                    <a:cubicBezTo>
                      <a:pt x="110326" y="208408"/>
                      <a:pt x="118090" y="210462"/>
                      <a:pt x="126041" y="211302"/>
                    </a:cubicBezTo>
                    <a:cubicBezTo>
                      <a:pt x="131186" y="211769"/>
                      <a:pt x="136238" y="211209"/>
                      <a:pt x="141008" y="209061"/>
                    </a:cubicBezTo>
                    <a:cubicBezTo>
                      <a:pt x="149895" y="204953"/>
                      <a:pt x="151111" y="194590"/>
                      <a:pt x="143534" y="188521"/>
                    </a:cubicBezTo>
                    <a:cubicBezTo>
                      <a:pt x="140915" y="186561"/>
                      <a:pt x="138015" y="184880"/>
                      <a:pt x="134928" y="183667"/>
                    </a:cubicBezTo>
                    <a:cubicBezTo>
                      <a:pt x="127070" y="180306"/>
                      <a:pt x="118838" y="177785"/>
                      <a:pt x="111355" y="173490"/>
                    </a:cubicBezTo>
                    <a:cubicBezTo>
                      <a:pt x="99194" y="166488"/>
                      <a:pt x="91523" y="156685"/>
                      <a:pt x="92084" y="142120"/>
                    </a:cubicBezTo>
                    <a:cubicBezTo>
                      <a:pt x="92833" y="125502"/>
                      <a:pt x="102094" y="115045"/>
                      <a:pt x="117154" y="109350"/>
                    </a:cubicBezTo>
                    <a:cubicBezTo>
                      <a:pt x="123422" y="107016"/>
                      <a:pt x="123422" y="107109"/>
                      <a:pt x="123515" y="100667"/>
                    </a:cubicBezTo>
                    <a:cubicBezTo>
                      <a:pt x="123422" y="98426"/>
                      <a:pt x="123422" y="96279"/>
                      <a:pt x="123422" y="94038"/>
                    </a:cubicBezTo>
                    <a:cubicBezTo>
                      <a:pt x="123422" y="89183"/>
                      <a:pt x="124264" y="88343"/>
                      <a:pt x="129128" y="88063"/>
                    </a:cubicBezTo>
                    <a:cubicBezTo>
                      <a:pt x="130812" y="87970"/>
                      <a:pt x="132309" y="87970"/>
                      <a:pt x="133805" y="87970"/>
                    </a:cubicBezTo>
                    <a:close/>
                    <a:moveTo>
                      <a:pt x="70698" y="0"/>
                    </a:moveTo>
                    <a:lnTo>
                      <a:pt x="302245" y="0"/>
                    </a:lnTo>
                    <a:cubicBezTo>
                      <a:pt x="306360" y="0"/>
                      <a:pt x="310381" y="934"/>
                      <a:pt x="314215" y="2428"/>
                    </a:cubicBezTo>
                    <a:cubicBezTo>
                      <a:pt x="317956" y="3922"/>
                      <a:pt x="321416" y="6163"/>
                      <a:pt x="324409" y="8964"/>
                    </a:cubicBezTo>
                    <a:lnTo>
                      <a:pt x="445045" y="124754"/>
                    </a:lnTo>
                    <a:cubicBezTo>
                      <a:pt x="448131" y="127743"/>
                      <a:pt x="450469" y="131291"/>
                      <a:pt x="452246" y="135213"/>
                    </a:cubicBezTo>
                    <a:cubicBezTo>
                      <a:pt x="453835" y="139135"/>
                      <a:pt x="454770" y="143337"/>
                      <a:pt x="454770" y="147726"/>
                    </a:cubicBezTo>
                    <a:lnTo>
                      <a:pt x="454770" y="193108"/>
                    </a:lnTo>
                    <a:cubicBezTo>
                      <a:pt x="453835" y="194509"/>
                      <a:pt x="452994" y="195723"/>
                      <a:pt x="452246" y="197123"/>
                    </a:cubicBezTo>
                    <a:cubicBezTo>
                      <a:pt x="449347" y="201699"/>
                      <a:pt x="434945" y="225791"/>
                      <a:pt x="425780" y="240731"/>
                    </a:cubicBezTo>
                    <a:cubicBezTo>
                      <a:pt x="424658" y="242412"/>
                      <a:pt x="423723" y="244093"/>
                      <a:pt x="422788" y="245400"/>
                    </a:cubicBezTo>
                    <a:cubicBezTo>
                      <a:pt x="422414" y="246147"/>
                      <a:pt x="421946" y="247081"/>
                      <a:pt x="421479" y="247828"/>
                    </a:cubicBezTo>
                    <a:lnTo>
                      <a:pt x="421479" y="157811"/>
                    </a:lnTo>
                    <a:lnTo>
                      <a:pt x="362376" y="157811"/>
                    </a:lnTo>
                    <a:cubicBezTo>
                      <a:pt x="323286" y="157811"/>
                      <a:pt x="291678" y="126155"/>
                      <a:pt x="291678" y="87216"/>
                    </a:cubicBezTo>
                    <a:lnTo>
                      <a:pt x="291678" y="33150"/>
                    </a:lnTo>
                    <a:lnTo>
                      <a:pt x="70698" y="33150"/>
                    </a:lnTo>
                    <a:cubicBezTo>
                      <a:pt x="50125" y="33150"/>
                      <a:pt x="33385" y="49864"/>
                      <a:pt x="33385" y="70408"/>
                    </a:cubicBezTo>
                    <a:lnTo>
                      <a:pt x="33385" y="499952"/>
                    </a:lnTo>
                    <a:cubicBezTo>
                      <a:pt x="33385" y="520495"/>
                      <a:pt x="50125" y="537116"/>
                      <a:pt x="70698" y="537116"/>
                    </a:cubicBezTo>
                    <a:lnTo>
                      <a:pt x="384166" y="537116"/>
                    </a:lnTo>
                    <a:cubicBezTo>
                      <a:pt x="404739" y="537116"/>
                      <a:pt x="421479" y="520495"/>
                      <a:pt x="421479" y="499952"/>
                    </a:cubicBezTo>
                    <a:lnTo>
                      <a:pt x="421572" y="499952"/>
                    </a:lnTo>
                    <a:lnTo>
                      <a:pt x="421572" y="460452"/>
                    </a:lnTo>
                    <a:cubicBezTo>
                      <a:pt x="433075" y="446539"/>
                      <a:pt x="444110" y="432158"/>
                      <a:pt x="454864" y="417778"/>
                    </a:cubicBezTo>
                    <a:lnTo>
                      <a:pt x="454864" y="500138"/>
                    </a:lnTo>
                    <a:cubicBezTo>
                      <a:pt x="454864" y="539171"/>
                      <a:pt x="423162" y="570733"/>
                      <a:pt x="384166" y="570733"/>
                    </a:cubicBezTo>
                    <a:lnTo>
                      <a:pt x="70698" y="570733"/>
                    </a:lnTo>
                    <a:cubicBezTo>
                      <a:pt x="31702" y="570733"/>
                      <a:pt x="0" y="539171"/>
                      <a:pt x="0" y="500138"/>
                    </a:cubicBezTo>
                    <a:lnTo>
                      <a:pt x="0" y="70595"/>
                    </a:lnTo>
                    <a:cubicBezTo>
                      <a:pt x="0" y="31656"/>
                      <a:pt x="31702" y="0"/>
                      <a:pt x="7069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F6D90346-C4DE-4798-B175-58538D740FE1}"/>
                </a:ext>
              </a:extLst>
            </p:cNvPr>
            <p:cNvGrpSpPr/>
            <p:nvPr/>
          </p:nvGrpSpPr>
          <p:grpSpPr>
            <a:xfrm>
              <a:off x="920895" y="4286277"/>
              <a:ext cx="1828978" cy="1847823"/>
              <a:chOff x="913897" y="4286277"/>
              <a:chExt cx="1828978" cy="1847823"/>
            </a:xfrm>
          </p:grpSpPr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921AE7E5-F9A8-46DC-A3B8-94BF6A2C9D93}"/>
                  </a:ext>
                </a:extLst>
              </p:cNvPr>
              <p:cNvSpPr txBox="1"/>
              <p:nvPr/>
            </p:nvSpPr>
            <p:spPr>
              <a:xfrm>
                <a:off x="913897" y="4733039"/>
                <a:ext cx="1828978" cy="140106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 …</a:t>
                </a:r>
              </a:p>
            </p:txBody>
          </p:sp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74F68E1B-3302-46D8-84C6-3382054D3536}"/>
                  </a:ext>
                </a:extLst>
              </p:cNvPr>
              <p:cNvSpPr/>
              <p:nvPr/>
            </p:nvSpPr>
            <p:spPr>
              <a:xfrm>
                <a:off x="913897" y="4286277"/>
                <a:ext cx="1828978" cy="446763"/>
              </a:xfrm>
              <a:prstGeom prst="rect">
                <a:avLst/>
              </a:prstGeom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354"/>
                <a:r>
                  <a:rPr lang="en-US" altLang="zh-CN" sz="1600" b="1" dirty="0"/>
                  <a:t>20XX.</a:t>
                </a:r>
                <a:r>
                  <a:rPr lang="zh-CN" altLang="en-US" sz="1600" b="1" dirty="0"/>
                  <a:t>目标</a:t>
                </a:r>
              </a:p>
            </p:txBody>
          </p:sp>
        </p:grpSp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67AD0D0C-5725-487B-9227-F1B01DC78554}"/>
                </a:ext>
              </a:extLst>
            </p:cNvPr>
            <p:cNvGrpSpPr/>
            <p:nvPr/>
          </p:nvGrpSpPr>
          <p:grpSpPr>
            <a:xfrm>
              <a:off x="5175161" y="4286277"/>
              <a:ext cx="1828978" cy="1847823"/>
              <a:chOff x="913897" y="4286277"/>
              <a:chExt cx="1828978" cy="1847823"/>
            </a:xfrm>
          </p:grpSpPr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921AE7E5-F9A8-46DC-A3B8-94BF6A2C9D93}"/>
                  </a:ext>
                </a:extLst>
              </p:cNvPr>
              <p:cNvSpPr txBox="1"/>
              <p:nvPr/>
            </p:nvSpPr>
            <p:spPr>
              <a:xfrm>
                <a:off x="913897" y="4733039"/>
                <a:ext cx="1828978" cy="140106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 …</a:t>
                </a:r>
              </a:p>
            </p:txBody>
          </p:sp>
          <p:sp>
            <p:nvSpPr>
              <p:cNvPr id="23" name="矩形 22">
                <a:extLst>
                  <a:ext uri="{FF2B5EF4-FFF2-40B4-BE49-F238E27FC236}">
                    <a16:creationId xmlns:a16="http://schemas.microsoft.com/office/drawing/2014/main" id="{74F68E1B-3302-46D8-84C6-3382054D3536}"/>
                  </a:ext>
                </a:extLst>
              </p:cNvPr>
              <p:cNvSpPr/>
              <p:nvPr/>
            </p:nvSpPr>
            <p:spPr>
              <a:xfrm>
                <a:off x="913897" y="4286277"/>
                <a:ext cx="1828978" cy="446763"/>
              </a:xfrm>
              <a:prstGeom prst="rect">
                <a:avLst/>
              </a:prstGeom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354"/>
                <a:r>
                  <a:rPr lang="en-US" altLang="zh-CN" sz="1600" b="1" dirty="0"/>
                  <a:t>20XX.</a:t>
                </a:r>
                <a:r>
                  <a:rPr lang="zh-CN" altLang="en-US" sz="1600" b="1" dirty="0"/>
                  <a:t>目标</a:t>
                </a:r>
              </a:p>
            </p:txBody>
          </p:sp>
        </p:grp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70BA45DB-59E9-447D-9F21-979ACE1DA7D7}"/>
                </a:ext>
              </a:extLst>
            </p:cNvPr>
            <p:cNvGrpSpPr/>
            <p:nvPr/>
          </p:nvGrpSpPr>
          <p:grpSpPr>
            <a:xfrm>
              <a:off x="9429427" y="4286277"/>
              <a:ext cx="1828978" cy="1847823"/>
              <a:chOff x="913897" y="4286277"/>
              <a:chExt cx="1828978" cy="1847823"/>
            </a:xfrm>
          </p:grpSpPr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921AE7E5-F9A8-46DC-A3B8-94BF6A2C9D93}"/>
                  </a:ext>
                </a:extLst>
              </p:cNvPr>
              <p:cNvSpPr txBox="1"/>
              <p:nvPr/>
            </p:nvSpPr>
            <p:spPr>
              <a:xfrm>
                <a:off x="913897" y="4733039"/>
                <a:ext cx="1828978" cy="140106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endParaRPr lang="en-US" altLang="zh-CN" sz="1100" dirty="0"/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 …</a:t>
                </a:r>
              </a:p>
            </p:txBody>
          </p:sp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74F68E1B-3302-46D8-84C6-3382054D3536}"/>
                  </a:ext>
                </a:extLst>
              </p:cNvPr>
              <p:cNvSpPr/>
              <p:nvPr/>
            </p:nvSpPr>
            <p:spPr>
              <a:xfrm>
                <a:off x="913897" y="4286277"/>
                <a:ext cx="1828978" cy="446763"/>
              </a:xfrm>
              <a:prstGeom prst="rect">
                <a:avLst/>
              </a:prstGeom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354"/>
                <a:r>
                  <a:rPr lang="en-US" altLang="zh-CN" sz="1600" b="1" dirty="0"/>
                  <a:t>20XX.</a:t>
                </a:r>
                <a:r>
                  <a:rPr lang="zh-CN" altLang="en-US" sz="1600" b="1" dirty="0"/>
                  <a:t>目标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2147396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8000" dirty="0"/>
              <a:t>Thanks</a:t>
            </a:r>
            <a:br>
              <a:rPr lang="en-US" altLang="zh-CN" sz="3600" dirty="0"/>
            </a:br>
            <a:r>
              <a:rPr lang="en-US" altLang="zh-CN" sz="3600" dirty="0"/>
              <a:t>And Your Slogan Here</a:t>
            </a:r>
            <a:endParaRPr lang="zh-CN" altLang="en-US" sz="3600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en-US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Speaker name and title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AE9154C-A310-46F2-B715-1289133357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工作回顾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0A8D17C-5A21-4A4C-94D9-5C333051A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 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7D6FFE4-F650-4B79-B926-0807053DA8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09A4FAF-C986-415C-901F-FB0AED03D388}"/>
              </a:ext>
            </a:extLst>
          </p:cNvPr>
          <p:cNvGrpSpPr>
            <a:grpSpLocks noChangeAspect="1"/>
          </p:cNvGrpSpPr>
          <p:nvPr/>
        </p:nvGrpSpPr>
        <p:grpSpPr>
          <a:xfrm>
            <a:off x="1191000" y="1359000"/>
            <a:ext cx="9810000" cy="4571861"/>
            <a:chOff x="1191000" y="1359000"/>
            <a:chExt cx="9810000" cy="4571861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6C8E8CA1-03A4-4BA5-86EB-FBC7E6233833}"/>
                </a:ext>
              </a:extLst>
            </p:cNvPr>
            <p:cNvGrpSpPr/>
            <p:nvPr/>
          </p:nvGrpSpPr>
          <p:grpSpPr>
            <a:xfrm>
              <a:off x="3805524" y="1359000"/>
              <a:ext cx="4580953" cy="4571861"/>
              <a:chOff x="3805524" y="1359000"/>
              <a:chExt cx="4580953" cy="4571861"/>
            </a:xfrm>
          </p:grpSpPr>
          <p:sp>
            <p:nvSpPr>
              <p:cNvPr id="19" name="任意多边形: 形状 18">
                <a:extLst>
                  <a:ext uri="{FF2B5EF4-FFF2-40B4-BE49-F238E27FC236}">
                    <a16:creationId xmlns:a16="http://schemas.microsoft.com/office/drawing/2014/main" id="{EF807748-CB7D-4719-A2FE-8A38CD0FF5E6}"/>
                  </a:ext>
                </a:extLst>
              </p:cNvPr>
              <p:cNvSpPr/>
              <p:nvPr/>
            </p:nvSpPr>
            <p:spPr bwMode="auto">
              <a:xfrm>
                <a:off x="3805524" y="1359000"/>
                <a:ext cx="2267606" cy="2267606"/>
              </a:xfrm>
              <a:custGeom>
                <a:avLst/>
                <a:gdLst>
                  <a:gd name="connsiteX0" fmla="*/ 1133803 w 2267606"/>
                  <a:gd name="connsiteY0" fmla="*/ 0 h 2267606"/>
                  <a:gd name="connsiteX1" fmla="*/ 2267606 w 2267606"/>
                  <a:gd name="connsiteY1" fmla="*/ 1133803 h 2267606"/>
                  <a:gd name="connsiteX2" fmla="*/ 2267606 w 2267606"/>
                  <a:gd name="connsiteY2" fmla="*/ 2267606 h 2267606"/>
                  <a:gd name="connsiteX3" fmla="*/ 1133803 w 2267606"/>
                  <a:gd name="connsiteY3" fmla="*/ 2267606 h 2267606"/>
                  <a:gd name="connsiteX4" fmla="*/ 0 w 2267606"/>
                  <a:gd name="connsiteY4" fmla="*/ 1133803 h 2267606"/>
                  <a:gd name="connsiteX5" fmla="*/ 1133803 w 2267606"/>
                  <a:gd name="connsiteY5" fmla="*/ 0 h 2267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67606" h="2267606">
                    <a:moveTo>
                      <a:pt x="1133803" y="0"/>
                    </a:moveTo>
                    <a:cubicBezTo>
                      <a:pt x="1759985" y="0"/>
                      <a:pt x="2267606" y="507621"/>
                      <a:pt x="2267606" y="1133803"/>
                    </a:cubicBezTo>
                    <a:lnTo>
                      <a:pt x="2267606" y="2267606"/>
                    </a:lnTo>
                    <a:lnTo>
                      <a:pt x="1133803" y="2267606"/>
                    </a:lnTo>
                    <a:cubicBezTo>
                      <a:pt x="507621" y="2267606"/>
                      <a:pt x="0" y="1759985"/>
                      <a:pt x="0" y="1133803"/>
                    </a:cubicBezTo>
                    <a:cubicBezTo>
                      <a:pt x="0" y="507621"/>
                      <a:pt x="507621" y="0"/>
                      <a:pt x="1133803" y="0"/>
                    </a:cubicBezTo>
                    <a:close/>
                  </a:path>
                </a:pathLst>
              </a:custGeom>
              <a:blipFill>
                <a:blip r:embed="rId2"/>
                <a:stretch>
                  <a:fillRect l="-39107" r="-38671"/>
                </a:stretch>
              </a:blip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" name="任意多边形: 形状 19">
                <a:extLst>
                  <a:ext uri="{FF2B5EF4-FFF2-40B4-BE49-F238E27FC236}">
                    <a16:creationId xmlns:a16="http://schemas.microsoft.com/office/drawing/2014/main" id="{7F7ED20C-AA8F-460C-97B6-4BFF4889B0FE}"/>
                  </a:ext>
                </a:extLst>
              </p:cNvPr>
              <p:cNvSpPr/>
              <p:nvPr/>
            </p:nvSpPr>
            <p:spPr bwMode="auto">
              <a:xfrm>
                <a:off x="6118871" y="1359000"/>
                <a:ext cx="2267606" cy="2267606"/>
              </a:xfrm>
              <a:custGeom>
                <a:avLst/>
                <a:gdLst>
                  <a:gd name="connsiteX0" fmla="*/ 1133803 w 2267606"/>
                  <a:gd name="connsiteY0" fmla="*/ 0 h 2267606"/>
                  <a:gd name="connsiteX1" fmla="*/ 2267606 w 2267606"/>
                  <a:gd name="connsiteY1" fmla="*/ 1133803 h 2267606"/>
                  <a:gd name="connsiteX2" fmla="*/ 1133803 w 2267606"/>
                  <a:gd name="connsiteY2" fmla="*/ 2267606 h 2267606"/>
                  <a:gd name="connsiteX3" fmla="*/ 0 w 2267606"/>
                  <a:gd name="connsiteY3" fmla="*/ 2267606 h 2267606"/>
                  <a:gd name="connsiteX4" fmla="*/ 0 w 2267606"/>
                  <a:gd name="connsiteY4" fmla="*/ 1133803 h 2267606"/>
                  <a:gd name="connsiteX5" fmla="*/ 1133803 w 2267606"/>
                  <a:gd name="connsiteY5" fmla="*/ 0 h 2267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67606" h="2267606">
                    <a:moveTo>
                      <a:pt x="1133803" y="0"/>
                    </a:moveTo>
                    <a:cubicBezTo>
                      <a:pt x="1759985" y="0"/>
                      <a:pt x="2267606" y="507621"/>
                      <a:pt x="2267606" y="1133803"/>
                    </a:cubicBezTo>
                    <a:cubicBezTo>
                      <a:pt x="2267606" y="1759985"/>
                      <a:pt x="1759985" y="2267606"/>
                      <a:pt x="1133803" y="2267606"/>
                    </a:cubicBezTo>
                    <a:lnTo>
                      <a:pt x="0" y="2267606"/>
                    </a:lnTo>
                    <a:lnTo>
                      <a:pt x="0" y="1133803"/>
                    </a:lnTo>
                    <a:cubicBezTo>
                      <a:pt x="0" y="507621"/>
                      <a:pt x="507621" y="0"/>
                      <a:pt x="1133803" y="0"/>
                    </a:cubicBezTo>
                    <a:close/>
                  </a:path>
                </a:pathLst>
              </a:custGeom>
              <a:blipFill>
                <a:blip r:embed="rId3"/>
                <a:stretch>
                  <a:fillRect l="-25140" r="-24860"/>
                </a:stretch>
              </a:blip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67E7393F-2E58-488E-93C2-EBE61495A6FC}"/>
                  </a:ext>
                </a:extLst>
              </p:cNvPr>
              <p:cNvSpPr/>
              <p:nvPr/>
            </p:nvSpPr>
            <p:spPr bwMode="auto">
              <a:xfrm>
                <a:off x="3805524" y="3663255"/>
                <a:ext cx="2267606" cy="2267606"/>
              </a:xfrm>
              <a:custGeom>
                <a:avLst/>
                <a:gdLst>
                  <a:gd name="connsiteX0" fmla="*/ 1133803 w 2267606"/>
                  <a:gd name="connsiteY0" fmla="*/ 0 h 2267606"/>
                  <a:gd name="connsiteX1" fmla="*/ 2267606 w 2267606"/>
                  <a:gd name="connsiteY1" fmla="*/ 0 h 2267606"/>
                  <a:gd name="connsiteX2" fmla="*/ 2267606 w 2267606"/>
                  <a:gd name="connsiteY2" fmla="*/ 1133803 h 2267606"/>
                  <a:gd name="connsiteX3" fmla="*/ 1133803 w 2267606"/>
                  <a:gd name="connsiteY3" fmla="*/ 2267606 h 2267606"/>
                  <a:gd name="connsiteX4" fmla="*/ 0 w 2267606"/>
                  <a:gd name="connsiteY4" fmla="*/ 1133803 h 2267606"/>
                  <a:gd name="connsiteX5" fmla="*/ 1133803 w 2267606"/>
                  <a:gd name="connsiteY5" fmla="*/ 0 h 2267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67606" h="2267606">
                    <a:moveTo>
                      <a:pt x="1133803" y="0"/>
                    </a:moveTo>
                    <a:lnTo>
                      <a:pt x="2267606" y="0"/>
                    </a:lnTo>
                    <a:lnTo>
                      <a:pt x="2267606" y="1133803"/>
                    </a:lnTo>
                    <a:cubicBezTo>
                      <a:pt x="2267606" y="1759985"/>
                      <a:pt x="1759985" y="2267606"/>
                      <a:pt x="1133803" y="2267606"/>
                    </a:cubicBezTo>
                    <a:cubicBezTo>
                      <a:pt x="507621" y="2267606"/>
                      <a:pt x="0" y="1759985"/>
                      <a:pt x="0" y="1133803"/>
                    </a:cubicBezTo>
                    <a:cubicBezTo>
                      <a:pt x="0" y="507621"/>
                      <a:pt x="507621" y="0"/>
                      <a:pt x="1133803" y="0"/>
                    </a:cubicBezTo>
                    <a:close/>
                  </a:path>
                </a:pathLst>
              </a:custGeom>
              <a:blipFill>
                <a:blip r:embed="rId4"/>
                <a:stretch>
                  <a:fillRect l="-39107" r="-38671"/>
                </a:stretch>
              </a:blip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234E511E-0B14-4D22-B704-24B82B04A456}"/>
                  </a:ext>
                </a:extLst>
              </p:cNvPr>
              <p:cNvSpPr/>
              <p:nvPr/>
            </p:nvSpPr>
            <p:spPr bwMode="auto">
              <a:xfrm>
                <a:off x="6118871" y="3663255"/>
                <a:ext cx="2267606" cy="2267606"/>
              </a:xfrm>
              <a:custGeom>
                <a:avLst/>
                <a:gdLst>
                  <a:gd name="connsiteX0" fmla="*/ 0 w 2267606"/>
                  <a:gd name="connsiteY0" fmla="*/ 0 h 2267606"/>
                  <a:gd name="connsiteX1" fmla="*/ 1133803 w 2267606"/>
                  <a:gd name="connsiteY1" fmla="*/ 0 h 2267606"/>
                  <a:gd name="connsiteX2" fmla="*/ 2267606 w 2267606"/>
                  <a:gd name="connsiteY2" fmla="*/ 1133803 h 2267606"/>
                  <a:gd name="connsiteX3" fmla="*/ 1133803 w 2267606"/>
                  <a:gd name="connsiteY3" fmla="*/ 2267606 h 2267606"/>
                  <a:gd name="connsiteX4" fmla="*/ 0 w 2267606"/>
                  <a:gd name="connsiteY4" fmla="*/ 1133803 h 22676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67606" h="2267606">
                    <a:moveTo>
                      <a:pt x="0" y="0"/>
                    </a:moveTo>
                    <a:lnTo>
                      <a:pt x="1133803" y="0"/>
                    </a:lnTo>
                    <a:cubicBezTo>
                      <a:pt x="1759985" y="0"/>
                      <a:pt x="2267606" y="507621"/>
                      <a:pt x="2267606" y="1133803"/>
                    </a:cubicBezTo>
                    <a:cubicBezTo>
                      <a:pt x="2267606" y="1759985"/>
                      <a:pt x="1759985" y="2267606"/>
                      <a:pt x="1133803" y="2267606"/>
                    </a:cubicBezTo>
                    <a:cubicBezTo>
                      <a:pt x="507621" y="2267606"/>
                      <a:pt x="0" y="1759985"/>
                      <a:pt x="0" y="1133803"/>
                    </a:cubicBezTo>
                    <a:close/>
                  </a:path>
                </a:pathLst>
              </a:custGeom>
              <a:blipFill>
                <a:blip r:embed="rId5"/>
                <a:stretch>
                  <a:fillRect l="-25436" r="-25152"/>
                </a:stretch>
              </a:blip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B1DC6BFD-C76D-4645-B58A-A9C607672709}"/>
                </a:ext>
              </a:extLst>
            </p:cNvPr>
            <p:cNvGrpSpPr/>
            <p:nvPr/>
          </p:nvGrpSpPr>
          <p:grpSpPr>
            <a:xfrm>
              <a:off x="1191000" y="2020305"/>
              <a:ext cx="2108063" cy="944997"/>
              <a:chOff x="1326000" y="1944000"/>
              <a:chExt cx="2108063" cy="944997"/>
            </a:xfrm>
          </p:grpSpPr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39340196-E1AA-4B49-976A-BF366BB2B662}"/>
                  </a:ext>
                </a:extLst>
              </p:cNvPr>
              <p:cNvSpPr/>
              <p:nvPr/>
            </p:nvSpPr>
            <p:spPr bwMode="auto">
              <a:xfrm>
                <a:off x="1326000" y="2331598"/>
                <a:ext cx="2108063" cy="5573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4D5C24C6-4DD0-4193-AD42-019C1134797B}"/>
                  </a:ext>
                </a:extLst>
              </p:cNvPr>
              <p:cNvSpPr txBox="1"/>
              <p:nvPr/>
            </p:nvSpPr>
            <p:spPr bwMode="auto">
              <a:xfrm>
                <a:off x="1326000" y="1944000"/>
                <a:ext cx="2108063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b="1" dirty="0"/>
                  <a:t>…</a:t>
                </a:r>
                <a:r>
                  <a:rPr lang="zh-CN" altLang="en-US" b="1" dirty="0"/>
                  <a:t>概况</a:t>
                </a:r>
                <a:endParaRPr lang="en-US" altLang="zh-CN" b="1" dirty="0"/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2AEF5AF9-BE1F-4544-BB6C-EBB38996A10A}"/>
                </a:ext>
              </a:extLst>
            </p:cNvPr>
            <p:cNvGrpSpPr/>
            <p:nvPr/>
          </p:nvGrpSpPr>
          <p:grpSpPr>
            <a:xfrm>
              <a:off x="1191000" y="4324560"/>
              <a:ext cx="2108063" cy="944997"/>
              <a:chOff x="1326000" y="1944000"/>
              <a:chExt cx="2108063" cy="944997"/>
            </a:xfrm>
          </p:grpSpPr>
          <p:sp>
            <p:nvSpPr>
              <p:cNvPr id="15" name="矩形 14">
                <a:extLst>
                  <a:ext uri="{FF2B5EF4-FFF2-40B4-BE49-F238E27FC236}">
                    <a16:creationId xmlns:a16="http://schemas.microsoft.com/office/drawing/2014/main" id="{39340196-E1AA-4B49-976A-BF366BB2B662}"/>
                  </a:ext>
                </a:extLst>
              </p:cNvPr>
              <p:cNvSpPr/>
              <p:nvPr/>
            </p:nvSpPr>
            <p:spPr bwMode="auto">
              <a:xfrm>
                <a:off x="1326000" y="2331598"/>
                <a:ext cx="2108063" cy="5573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4D5C24C6-4DD0-4193-AD42-019C1134797B}"/>
                  </a:ext>
                </a:extLst>
              </p:cNvPr>
              <p:cNvSpPr txBox="1"/>
              <p:nvPr/>
            </p:nvSpPr>
            <p:spPr bwMode="auto">
              <a:xfrm>
                <a:off x="1326000" y="1944000"/>
                <a:ext cx="2108063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b="1" dirty="0"/>
                  <a:t>…</a:t>
                </a:r>
                <a:r>
                  <a:rPr lang="zh-CN" altLang="en-US" b="1" dirty="0"/>
                  <a:t>概况</a:t>
                </a:r>
                <a:endParaRPr lang="en-US" altLang="zh-CN" b="1" dirty="0"/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465412AC-7787-47B5-A5D6-747CDA0A9DE0}"/>
                </a:ext>
              </a:extLst>
            </p:cNvPr>
            <p:cNvGrpSpPr/>
            <p:nvPr/>
          </p:nvGrpSpPr>
          <p:grpSpPr>
            <a:xfrm>
              <a:off x="8892937" y="2020305"/>
              <a:ext cx="2108063" cy="944997"/>
              <a:chOff x="1326000" y="1944000"/>
              <a:chExt cx="2108063" cy="944997"/>
            </a:xfrm>
          </p:grpSpPr>
          <p:sp>
            <p:nvSpPr>
              <p:cNvPr id="13" name="矩形 12">
                <a:extLst>
                  <a:ext uri="{FF2B5EF4-FFF2-40B4-BE49-F238E27FC236}">
                    <a16:creationId xmlns:a16="http://schemas.microsoft.com/office/drawing/2014/main" id="{39340196-E1AA-4B49-976A-BF366BB2B662}"/>
                  </a:ext>
                </a:extLst>
              </p:cNvPr>
              <p:cNvSpPr/>
              <p:nvPr/>
            </p:nvSpPr>
            <p:spPr bwMode="auto">
              <a:xfrm>
                <a:off x="1326000" y="2331598"/>
                <a:ext cx="2108063" cy="5573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4D5C24C6-4DD0-4193-AD42-019C1134797B}"/>
                  </a:ext>
                </a:extLst>
              </p:cNvPr>
              <p:cNvSpPr txBox="1"/>
              <p:nvPr/>
            </p:nvSpPr>
            <p:spPr bwMode="auto">
              <a:xfrm>
                <a:off x="1326000" y="1944000"/>
                <a:ext cx="2108063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b="1" dirty="0"/>
                  <a:t>…</a:t>
                </a:r>
                <a:r>
                  <a:rPr lang="zh-CN" altLang="en-US" b="1" dirty="0"/>
                  <a:t>概况</a:t>
                </a:r>
                <a:endParaRPr lang="en-US" altLang="zh-CN" b="1" dirty="0"/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38E96476-C02D-46B9-8DDA-FDEA954B26D7}"/>
                </a:ext>
              </a:extLst>
            </p:cNvPr>
            <p:cNvGrpSpPr/>
            <p:nvPr/>
          </p:nvGrpSpPr>
          <p:grpSpPr>
            <a:xfrm>
              <a:off x="8892937" y="4324560"/>
              <a:ext cx="2108063" cy="944997"/>
              <a:chOff x="1326000" y="1944000"/>
              <a:chExt cx="2108063" cy="944997"/>
            </a:xfrm>
          </p:grpSpPr>
          <p:sp>
            <p:nvSpPr>
              <p:cNvPr id="11" name="矩形 10">
                <a:extLst>
                  <a:ext uri="{FF2B5EF4-FFF2-40B4-BE49-F238E27FC236}">
                    <a16:creationId xmlns:a16="http://schemas.microsoft.com/office/drawing/2014/main" id="{39340196-E1AA-4B49-976A-BF366BB2B662}"/>
                  </a:ext>
                </a:extLst>
              </p:cNvPr>
              <p:cNvSpPr/>
              <p:nvPr/>
            </p:nvSpPr>
            <p:spPr bwMode="auto">
              <a:xfrm>
                <a:off x="1326000" y="2331598"/>
                <a:ext cx="2108063" cy="5573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12" name="文本框 11">
                <a:extLst>
                  <a:ext uri="{FF2B5EF4-FFF2-40B4-BE49-F238E27FC236}">
                    <a16:creationId xmlns:a16="http://schemas.microsoft.com/office/drawing/2014/main" id="{4D5C24C6-4DD0-4193-AD42-019C1134797B}"/>
                  </a:ext>
                </a:extLst>
              </p:cNvPr>
              <p:cNvSpPr txBox="1"/>
              <p:nvPr/>
            </p:nvSpPr>
            <p:spPr bwMode="auto">
              <a:xfrm>
                <a:off x="1326000" y="1944000"/>
                <a:ext cx="2108063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b="1" dirty="0"/>
                  <a:t>…</a:t>
                </a:r>
                <a:r>
                  <a:rPr lang="zh-CN" altLang="en-US" b="1" dirty="0"/>
                  <a:t>概况</a:t>
                </a:r>
                <a:endParaRPr lang="en-US" altLang="zh-CN" b="1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17437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90B3C24-B6B3-4CB9-B802-3AEA22FE29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工作计划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B6EF28C-2E15-4763-9897-3740AE89F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4F5A855-E6A9-4E4D-B59E-FED5E1EA6D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39B43174-32FF-4A23-9AB5-FCD6E8477DF6}"/>
              </a:ext>
            </a:extLst>
          </p:cNvPr>
          <p:cNvGrpSpPr>
            <a:grpSpLocks noChangeAspect="1"/>
          </p:cNvGrpSpPr>
          <p:nvPr/>
        </p:nvGrpSpPr>
        <p:grpSpPr>
          <a:xfrm>
            <a:off x="660401" y="1819510"/>
            <a:ext cx="10858499" cy="4086990"/>
            <a:chOff x="660401" y="1819510"/>
            <a:chExt cx="10858499" cy="4086990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1C227BC1-3DC1-4E1B-806B-D4989239DA63}"/>
                </a:ext>
              </a:extLst>
            </p:cNvPr>
            <p:cNvSpPr/>
            <p:nvPr/>
          </p:nvSpPr>
          <p:spPr bwMode="auto">
            <a:xfrm>
              <a:off x="2918008" y="1845382"/>
              <a:ext cx="6355985" cy="3167236"/>
            </a:xfrm>
            <a:custGeom>
              <a:avLst/>
              <a:gdLst>
                <a:gd name="T0" fmla="*/ 0 w 2659"/>
                <a:gd name="T1" fmla="*/ 1064 h 1325"/>
                <a:gd name="T2" fmla="*/ 995 w 2659"/>
                <a:gd name="T3" fmla="*/ 456 h 1325"/>
                <a:gd name="T4" fmla="*/ 1482 w 2659"/>
                <a:gd name="T5" fmla="*/ 651 h 1325"/>
                <a:gd name="T6" fmla="*/ 2287 w 2659"/>
                <a:gd name="T7" fmla="*/ 147 h 1325"/>
                <a:gd name="T8" fmla="*/ 2226 w 2659"/>
                <a:gd name="T9" fmla="*/ 23 h 1325"/>
                <a:gd name="T10" fmla="*/ 2659 w 2659"/>
                <a:gd name="T11" fmla="*/ 0 h 1325"/>
                <a:gd name="T12" fmla="*/ 2439 w 2659"/>
                <a:gd name="T13" fmla="*/ 366 h 1325"/>
                <a:gd name="T14" fmla="*/ 2373 w 2659"/>
                <a:gd name="T15" fmla="*/ 261 h 1325"/>
                <a:gd name="T16" fmla="*/ 1506 w 2659"/>
                <a:gd name="T17" fmla="*/ 826 h 1325"/>
                <a:gd name="T18" fmla="*/ 1073 w 2659"/>
                <a:gd name="T19" fmla="*/ 674 h 1325"/>
                <a:gd name="T20" fmla="*/ 199 w 2659"/>
                <a:gd name="T21" fmla="*/ 1325 h 1325"/>
                <a:gd name="T22" fmla="*/ 0 w 2659"/>
                <a:gd name="T23" fmla="*/ 1064 h 1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59" h="1325">
                  <a:moveTo>
                    <a:pt x="0" y="1064"/>
                  </a:moveTo>
                  <a:lnTo>
                    <a:pt x="995" y="456"/>
                  </a:lnTo>
                  <a:lnTo>
                    <a:pt x="1482" y="651"/>
                  </a:lnTo>
                  <a:lnTo>
                    <a:pt x="2287" y="147"/>
                  </a:lnTo>
                  <a:lnTo>
                    <a:pt x="2226" y="23"/>
                  </a:lnTo>
                  <a:lnTo>
                    <a:pt x="2659" y="0"/>
                  </a:lnTo>
                  <a:lnTo>
                    <a:pt x="2439" y="366"/>
                  </a:lnTo>
                  <a:lnTo>
                    <a:pt x="2373" y="261"/>
                  </a:lnTo>
                  <a:lnTo>
                    <a:pt x="1506" y="826"/>
                  </a:lnTo>
                  <a:lnTo>
                    <a:pt x="1073" y="674"/>
                  </a:lnTo>
                  <a:lnTo>
                    <a:pt x="199" y="1325"/>
                  </a:lnTo>
                  <a:lnTo>
                    <a:pt x="0" y="106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5875" cap="flat">
              <a:noFill/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EAE72652-239D-4107-A451-FFE8D62BF527}"/>
                </a:ext>
              </a:extLst>
            </p:cNvPr>
            <p:cNvSpPr/>
            <p:nvPr/>
          </p:nvSpPr>
          <p:spPr>
            <a:xfrm>
              <a:off x="2992352" y="4394979"/>
              <a:ext cx="515992" cy="515988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rmAutofit/>
            </a:bodyPr>
            <a:lstStyle/>
            <a:p>
              <a:pPr algn="ctr"/>
              <a:r>
                <a:rPr lang="en-US" sz="1200" b="1"/>
                <a:t>1</a:t>
              </a:r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B55C74F9-47D8-4A05-86A6-49558A9C6DD5}"/>
                </a:ext>
              </a:extLst>
            </p:cNvPr>
            <p:cNvSpPr/>
            <p:nvPr/>
          </p:nvSpPr>
          <p:spPr>
            <a:xfrm>
              <a:off x="5118094" y="2964060"/>
              <a:ext cx="515992" cy="515988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rmAutofit/>
            </a:bodyPr>
            <a:lstStyle/>
            <a:p>
              <a:pPr algn="ctr"/>
              <a:r>
                <a:rPr lang="en-US" sz="1200" b="1"/>
                <a:t>2</a:t>
              </a:r>
            </a:p>
          </p:txBody>
        </p:sp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A5608D3B-C36F-49AC-AF66-CE8E7AE2CEE7}"/>
                </a:ext>
              </a:extLst>
            </p:cNvPr>
            <p:cNvSpPr/>
            <p:nvPr/>
          </p:nvSpPr>
          <p:spPr>
            <a:xfrm>
              <a:off x="6217172" y="3338271"/>
              <a:ext cx="515992" cy="515988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rmAutofit/>
            </a:bodyPr>
            <a:lstStyle/>
            <a:p>
              <a:pPr algn="ctr"/>
              <a:r>
                <a:rPr lang="en-US" sz="1200" b="1"/>
                <a:t>3</a:t>
              </a:r>
            </a:p>
          </p:txBody>
        </p: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5D0D3583-5291-4601-8CC7-36475E8F921A}"/>
                </a:ext>
              </a:extLst>
            </p:cNvPr>
            <p:cNvSpPr/>
            <p:nvPr/>
          </p:nvSpPr>
          <p:spPr>
            <a:xfrm>
              <a:off x="8482627" y="1914040"/>
              <a:ext cx="515992" cy="515988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anchor="ctr">
              <a:normAutofit/>
            </a:bodyPr>
            <a:lstStyle/>
            <a:p>
              <a:pPr algn="ctr"/>
              <a:r>
                <a:rPr lang="en-US" sz="1200" b="1"/>
                <a:t>4</a:t>
              </a:r>
            </a:p>
          </p:txBody>
        </p: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F37692B8-60FA-4A9C-93AE-33D8A7682616}"/>
                </a:ext>
              </a:extLst>
            </p:cNvPr>
            <p:cNvGrpSpPr/>
            <p:nvPr/>
          </p:nvGrpSpPr>
          <p:grpSpPr>
            <a:xfrm>
              <a:off x="660401" y="4792815"/>
              <a:ext cx="2444750" cy="1113685"/>
              <a:chOff x="1539665" y="2874524"/>
              <a:chExt cx="2318039" cy="1113685"/>
            </a:xfrm>
          </p:grpSpPr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90777CC5-8375-470B-A779-B85A4B2DBAE3}"/>
                  </a:ext>
                </a:extLst>
              </p:cNvPr>
              <p:cNvSpPr/>
              <p:nvPr/>
            </p:nvSpPr>
            <p:spPr bwMode="auto">
              <a:xfrm>
                <a:off x="1539665" y="3225663"/>
                <a:ext cx="2318039" cy="7625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anchor="t" anchorCtr="0">
                <a:normAutofit/>
              </a:bodyPr>
              <a:lstStyle/>
              <a:p>
                <a:pPr algn="r"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/>
                  <a:t>Copy paste fonts. Choose the only option to retain 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text… …</a:t>
                </a:r>
                <a:endParaRPr lang="en-US" altLang="zh-CN" sz="1100" dirty="0"/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6875234C-1DE5-4466-AE87-A1C07870141E}"/>
                  </a:ext>
                </a:extLst>
              </p:cNvPr>
              <p:cNvSpPr txBox="1"/>
              <p:nvPr/>
            </p:nvSpPr>
            <p:spPr bwMode="auto">
              <a:xfrm>
                <a:off x="1539665" y="2874524"/>
                <a:ext cx="2318039" cy="3511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>
                <a:normAutofit lnSpcReduction="10000"/>
              </a:bodyPr>
              <a:lstStyle/>
              <a:p>
                <a:pPr algn="r"/>
                <a:r>
                  <a:rPr lang="en-US" altLang="zh-CN" b="1" dirty="0"/>
                  <a:t>…</a:t>
                </a:r>
                <a:r>
                  <a:rPr lang="zh-CN" altLang="en-US" b="1" dirty="0"/>
                  <a:t>计划</a:t>
                </a:r>
                <a:endParaRPr lang="id-ID" altLang="zh-CN" b="1" dirty="0"/>
              </a:p>
            </p:txBody>
          </p: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884A130C-197F-4F9B-A483-50BA3D7B48F0}"/>
                </a:ext>
              </a:extLst>
            </p:cNvPr>
            <p:cNvGrpSpPr/>
            <p:nvPr/>
          </p:nvGrpSpPr>
          <p:grpSpPr>
            <a:xfrm>
              <a:off x="8489692" y="2781428"/>
              <a:ext cx="3029208" cy="1113685"/>
              <a:chOff x="1539665" y="2874524"/>
              <a:chExt cx="2318039" cy="1113685"/>
            </a:xfrm>
          </p:grpSpPr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60CEEFEE-E1D3-4328-9FB8-58A0632E49A9}"/>
                  </a:ext>
                </a:extLst>
              </p:cNvPr>
              <p:cNvSpPr/>
              <p:nvPr/>
            </p:nvSpPr>
            <p:spPr bwMode="auto">
              <a:xfrm>
                <a:off x="1539665" y="3225663"/>
                <a:ext cx="2318039" cy="7625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anchor="t" anchorCtr="0">
                <a:normAutofit/>
              </a:bodyPr>
              <a:lstStyle/>
              <a:p>
                <a:pPr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/>
                  <a:t>Copy paste font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s. Choose the only option to retain text… …</a:t>
                </a:r>
                <a:endParaRPr lang="en-US" altLang="zh-CN" sz="1100" dirty="0"/>
              </a:p>
            </p:txBody>
          </p:sp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F6D234D5-0243-41F6-9E2B-4A2CE99E94D7}"/>
                  </a:ext>
                </a:extLst>
              </p:cNvPr>
              <p:cNvSpPr txBox="1"/>
              <p:nvPr/>
            </p:nvSpPr>
            <p:spPr bwMode="auto">
              <a:xfrm>
                <a:off x="1539665" y="2874524"/>
                <a:ext cx="2318039" cy="3511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>
                <a:normAutofit lnSpcReduction="10000"/>
              </a:bodyPr>
              <a:lstStyle/>
              <a:p>
                <a:r>
                  <a:rPr lang="en-US" altLang="zh-CN" b="1" dirty="0"/>
                  <a:t>…</a:t>
                </a:r>
                <a:r>
                  <a:rPr lang="zh-CN" altLang="en-US" b="1" dirty="0"/>
                  <a:t>计划</a:t>
                </a:r>
                <a:endParaRPr lang="id-ID" altLang="zh-CN" b="1" dirty="0"/>
              </a:p>
            </p:txBody>
          </p: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BEED02B0-CA0F-4DF0-949F-24DEF6C34B69}"/>
                </a:ext>
              </a:extLst>
            </p:cNvPr>
            <p:cNvGrpSpPr/>
            <p:nvPr/>
          </p:nvGrpSpPr>
          <p:grpSpPr>
            <a:xfrm>
              <a:off x="6217172" y="4096130"/>
              <a:ext cx="3029208" cy="1113685"/>
              <a:chOff x="1539665" y="2874524"/>
              <a:chExt cx="2318039" cy="1113685"/>
            </a:xfrm>
          </p:grpSpPr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9080F13C-222F-4A04-8C21-0CC7531D491D}"/>
                  </a:ext>
                </a:extLst>
              </p:cNvPr>
              <p:cNvSpPr/>
              <p:nvPr/>
            </p:nvSpPr>
            <p:spPr bwMode="auto">
              <a:xfrm>
                <a:off x="1539665" y="3225663"/>
                <a:ext cx="2318039" cy="7625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anchor="t" anchorCtr="0">
                <a:normAutofit/>
              </a:bodyPr>
              <a:lstStyle/>
              <a:p>
                <a:pPr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/>
                  <a:t>Copy paste font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s. Choose the only option to retain text… …</a:t>
                </a:r>
                <a:endParaRPr lang="en-US" altLang="zh-CN" sz="1100" dirty="0"/>
              </a:p>
            </p:txBody>
          </p:sp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5FD38C20-EF97-479E-8FAF-B479BC1281A9}"/>
                  </a:ext>
                </a:extLst>
              </p:cNvPr>
              <p:cNvSpPr txBox="1"/>
              <p:nvPr/>
            </p:nvSpPr>
            <p:spPr bwMode="auto">
              <a:xfrm>
                <a:off x="1539665" y="2874524"/>
                <a:ext cx="2318039" cy="3511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>
                <a:normAutofit lnSpcReduction="10000"/>
              </a:bodyPr>
              <a:lstStyle/>
              <a:p>
                <a:r>
                  <a:rPr lang="en-US" altLang="zh-CN" b="1" dirty="0"/>
                  <a:t>…</a:t>
                </a:r>
                <a:r>
                  <a:rPr lang="zh-CN" altLang="en-US" b="1" dirty="0"/>
                  <a:t>计划</a:t>
                </a:r>
                <a:endParaRPr lang="id-ID" altLang="zh-CN" b="1" dirty="0"/>
              </a:p>
            </p:txBody>
          </p:sp>
        </p:grp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414B410C-81FB-419A-8A4F-88BEB0BCD073}"/>
                </a:ext>
              </a:extLst>
            </p:cNvPr>
            <p:cNvGrpSpPr/>
            <p:nvPr/>
          </p:nvGrpSpPr>
          <p:grpSpPr>
            <a:xfrm>
              <a:off x="2782910" y="1819510"/>
              <a:ext cx="2847943" cy="1113685"/>
              <a:chOff x="1539665" y="2874524"/>
              <a:chExt cx="2318039" cy="1113685"/>
            </a:xfrm>
          </p:grpSpPr>
          <p:sp>
            <p:nvSpPr>
              <p:cNvPr id="15" name="矩形 14">
                <a:extLst>
                  <a:ext uri="{FF2B5EF4-FFF2-40B4-BE49-F238E27FC236}">
                    <a16:creationId xmlns:a16="http://schemas.microsoft.com/office/drawing/2014/main" id="{3A70ABFC-7AE7-4928-9D33-01BCF4D76260}"/>
                  </a:ext>
                </a:extLst>
              </p:cNvPr>
              <p:cNvSpPr/>
              <p:nvPr/>
            </p:nvSpPr>
            <p:spPr bwMode="auto">
              <a:xfrm>
                <a:off x="1539665" y="3225663"/>
                <a:ext cx="2318039" cy="7625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anchor="t" anchorCtr="0">
                <a:normAutofit/>
              </a:bodyPr>
              <a:lstStyle/>
              <a:p>
                <a:pPr algn="r">
                  <a:lnSpc>
                    <a:spcPct val="150000"/>
                  </a:lnSpc>
                  <a:buSzPct val="25000"/>
                  <a:defRPr/>
                </a:pPr>
                <a:r>
                  <a:rPr lang="en-US" altLang="zh-CN" sz="1100"/>
                  <a:t>Copy paste font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s. Choose the only option to retain text… …</a:t>
                </a:r>
                <a:endParaRPr lang="en-US" altLang="zh-CN" sz="1100" dirty="0"/>
              </a:p>
            </p:txBody>
          </p:sp>
          <p:sp>
            <p:nvSpPr>
              <p:cNvPr id="16" name="文本框 15">
                <a:extLst>
                  <a:ext uri="{FF2B5EF4-FFF2-40B4-BE49-F238E27FC236}">
                    <a16:creationId xmlns:a16="http://schemas.microsoft.com/office/drawing/2014/main" id="{F044F7A2-5561-4EB2-86DD-EA38ACEA21EA}"/>
                  </a:ext>
                </a:extLst>
              </p:cNvPr>
              <p:cNvSpPr txBox="1"/>
              <p:nvPr/>
            </p:nvSpPr>
            <p:spPr bwMode="auto">
              <a:xfrm>
                <a:off x="1539665" y="2874524"/>
                <a:ext cx="2318039" cy="3511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>
                <a:normAutofit lnSpcReduction="10000"/>
              </a:bodyPr>
              <a:lstStyle/>
              <a:p>
                <a:pPr algn="r"/>
                <a:r>
                  <a:rPr lang="en-US" altLang="zh-CN" b="1" dirty="0"/>
                  <a:t>…</a:t>
                </a:r>
                <a:r>
                  <a:rPr lang="zh-CN" altLang="en-US" b="1" dirty="0"/>
                  <a:t>计划</a:t>
                </a:r>
                <a:endParaRPr lang="id-ID" altLang="zh-CN" b="1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52794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工作进度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1107937" y="1192976"/>
            <a:ext cx="9976126" cy="4801024"/>
            <a:chOff x="1107937" y="1192976"/>
            <a:chExt cx="9976126" cy="4801024"/>
          </a:xfrm>
        </p:grpSpPr>
        <p:sp>
          <p:nvSpPr>
            <p:cNvPr id="6" name="矩形 5"/>
            <p:cNvSpPr/>
            <p:nvPr/>
          </p:nvSpPr>
          <p:spPr>
            <a:xfrm flipV="1">
              <a:off x="3938760" y="3269548"/>
              <a:ext cx="1691792" cy="143097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scene3d>
              <a:camera prst="perspectiveRelaxed" fov="5700000">
                <a:rot lat="16800000" lon="0" rev="0"/>
              </a:camera>
              <a:lightRig rig="soft" dir="t">
                <a:rot lat="0" lon="0" rev="4800000"/>
              </a:lightRig>
            </a:scene3d>
            <a:sp3d extrusionH="57150" prstMaterial="plastic">
              <a:bevelT w="0" h="12700"/>
              <a:bevelB w="0" h="254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" name="任意多边形: 形状 6"/>
            <p:cNvSpPr/>
            <p:nvPr/>
          </p:nvSpPr>
          <p:spPr bwMode="auto">
            <a:xfrm>
              <a:off x="4479992" y="3129808"/>
              <a:ext cx="609329" cy="609329"/>
            </a:xfrm>
            <a:custGeom>
              <a:avLst/>
              <a:gdLst>
                <a:gd name="T0" fmla="*/ 116 w 232"/>
                <a:gd name="T1" fmla="*/ 0 h 232"/>
                <a:gd name="T2" fmla="*/ 0 w 232"/>
                <a:gd name="T3" fmla="*/ 116 h 232"/>
                <a:gd name="T4" fmla="*/ 116 w 232"/>
                <a:gd name="T5" fmla="*/ 232 h 232"/>
                <a:gd name="T6" fmla="*/ 232 w 232"/>
                <a:gd name="T7" fmla="*/ 116 h 232"/>
                <a:gd name="T8" fmla="*/ 116 w 232"/>
                <a:gd name="T9" fmla="*/ 0 h 232"/>
                <a:gd name="T10" fmla="*/ 129 w 232"/>
                <a:gd name="T11" fmla="*/ 208 h 232"/>
                <a:gd name="T12" fmla="*/ 129 w 232"/>
                <a:gd name="T13" fmla="*/ 190 h 232"/>
                <a:gd name="T14" fmla="*/ 117 w 232"/>
                <a:gd name="T15" fmla="*/ 178 h 232"/>
                <a:gd name="T16" fmla="*/ 105 w 232"/>
                <a:gd name="T17" fmla="*/ 190 h 232"/>
                <a:gd name="T18" fmla="*/ 105 w 232"/>
                <a:gd name="T19" fmla="*/ 208 h 232"/>
                <a:gd name="T20" fmla="*/ 25 w 232"/>
                <a:gd name="T21" fmla="*/ 129 h 232"/>
                <a:gd name="T22" fmla="*/ 42 w 232"/>
                <a:gd name="T23" fmla="*/ 129 h 232"/>
                <a:gd name="T24" fmla="*/ 53 w 232"/>
                <a:gd name="T25" fmla="*/ 117 h 232"/>
                <a:gd name="T26" fmla="*/ 42 w 232"/>
                <a:gd name="T27" fmla="*/ 105 h 232"/>
                <a:gd name="T28" fmla="*/ 24 w 232"/>
                <a:gd name="T29" fmla="*/ 105 h 232"/>
                <a:gd name="T30" fmla="*/ 104 w 232"/>
                <a:gd name="T31" fmla="*/ 25 h 232"/>
                <a:gd name="T32" fmla="*/ 104 w 232"/>
                <a:gd name="T33" fmla="*/ 41 h 232"/>
                <a:gd name="T34" fmla="*/ 116 w 232"/>
                <a:gd name="T35" fmla="*/ 53 h 232"/>
                <a:gd name="T36" fmla="*/ 128 w 232"/>
                <a:gd name="T37" fmla="*/ 41 h 232"/>
                <a:gd name="T38" fmla="*/ 128 w 232"/>
                <a:gd name="T39" fmla="*/ 25 h 232"/>
                <a:gd name="T40" fmla="*/ 208 w 232"/>
                <a:gd name="T41" fmla="*/ 104 h 232"/>
                <a:gd name="T42" fmla="*/ 190 w 232"/>
                <a:gd name="T43" fmla="*/ 104 h 232"/>
                <a:gd name="T44" fmla="*/ 179 w 232"/>
                <a:gd name="T45" fmla="*/ 116 h 232"/>
                <a:gd name="T46" fmla="*/ 190 w 232"/>
                <a:gd name="T47" fmla="*/ 128 h 232"/>
                <a:gd name="T48" fmla="*/ 208 w 232"/>
                <a:gd name="T49" fmla="*/ 128 h 232"/>
                <a:gd name="T50" fmla="*/ 129 w 232"/>
                <a:gd name="T51" fmla="*/ 208 h 232"/>
                <a:gd name="T52" fmla="*/ 124 w 232"/>
                <a:gd name="T53" fmla="*/ 94 h 232"/>
                <a:gd name="T54" fmla="*/ 70 w 232"/>
                <a:gd name="T55" fmla="*/ 69 h 232"/>
                <a:gd name="T56" fmla="*/ 94 w 232"/>
                <a:gd name="T57" fmla="*/ 124 h 232"/>
                <a:gd name="T58" fmla="*/ 109 w 232"/>
                <a:gd name="T59" fmla="*/ 138 h 232"/>
                <a:gd name="T60" fmla="*/ 163 w 232"/>
                <a:gd name="T61" fmla="*/ 163 h 232"/>
                <a:gd name="T62" fmla="*/ 138 w 232"/>
                <a:gd name="T63" fmla="*/ 108 h 232"/>
                <a:gd name="T64" fmla="*/ 124 w 232"/>
                <a:gd name="T65" fmla="*/ 94 h 232"/>
                <a:gd name="T66" fmla="*/ 123 w 232"/>
                <a:gd name="T67" fmla="*/ 123 h 232"/>
                <a:gd name="T68" fmla="*/ 110 w 232"/>
                <a:gd name="T69" fmla="*/ 123 h 232"/>
                <a:gd name="T70" fmla="*/ 110 w 232"/>
                <a:gd name="T71" fmla="*/ 109 h 232"/>
                <a:gd name="T72" fmla="*/ 123 w 232"/>
                <a:gd name="T73" fmla="*/ 109 h 232"/>
                <a:gd name="T74" fmla="*/ 123 w 232"/>
                <a:gd name="T75" fmla="*/ 12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2" h="232">
                  <a:moveTo>
                    <a:pt x="116" y="0"/>
                  </a:moveTo>
                  <a:cubicBezTo>
                    <a:pt x="52" y="0"/>
                    <a:pt x="0" y="52"/>
                    <a:pt x="0" y="116"/>
                  </a:cubicBezTo>
                  <a:cubicBezTo>
                    <a:pt x="0" y="180"/>
                    <a:pt x="52" y="232"/>
                    <a:pt x="116" y="232"/>
                  </a:cubicBezTo>
                  <a:cubicBezTo>
                    <a:pt x="180" y="232"/>
                    <a:pt x="232" y="180"/>
                    <a:pt x="232" y="116"/>
                  </a:cubicBezTo>
                  <a:cubicBezTo>
                    <a:pt x="232" y="52"/>
                    <a:pt x="180" y="0"/>
                    <a:pt x="116" y="0"/>
                  </a:cubicBezTo>
                  <a:close/>
                  <a:moveTo>
                    <a:pt x="129" y="208"/>
                  </a:moveTo>
                  <a:cubicBezTo>
                    <a:pt x="129" y="190"/>
                    <a:pt x="129" y="190"/>
                    <a:pt x="129" y="190"/>
                  </a:cubicBezTo>
                  <a:cubicBezTo>
                    <a:pt x="129" y="183"/>
                    <a:pt x="123" y="178"/>
                    <a:pt x="117" y="178"/>
                  </a:cubicBezTo>
                  <a:cubicBezTo>
                    <a:pt x="110" y="178"/>
                    <a:pt x="105" y="183"/>
                    <a:pt x="105" y="190"/>
                  </a:cubicBezTo>
                  <a:cubicBezTo>
                    <a:pt x="105" y="208"/>
                    <a:pt x="105" y="208"/>
                    <a:pt x="105" y="208"/>
                  </a:cubicBezTo>
                  <a:cubicBezTo>
                    <a:pt x="63" y="203"/>
                    <a:pt x="30" y="170"/>
                    <a:pt x="25" y="129"/>
                  </a:cubicBezTo>
                  <a:cubicBezTo>
                    <a:pt x="42" y="129"/>
                    <a:pt x="42" y="129"/>
                    <a:pt x="42" y="129"/>
                  </a:cubicBezTo>
                  <a:cubicBezTo>
                    <a:pt x="48" y="129"/>
                    <a:pt x="53" y="123"/>
                    <a:pt x="53" y="117"/>
                  </a:cubicBezTo>
                  <a:cubicBezTo>
                    <a:pt x="53" y="110"/>
                    <a:pt x="48" y="105"/>
                    <a:pt x="42" y="105"/>
                  </a:cubicBezTo>
                  <a:cubicBezTo>
                    <a:pt x="24" y="105"/>
                    <a:pt x="24" y="105"/>
                    <a:pt x="24" y="105"/>
                  </a:cubicBezTo>
                  <a:cubicBezTo>
                    <a:pt x="29" y="63"/>
                    <a:pt x="63" y="30"/>
                    <a:pt x="104" y="25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104" y="47"/>
                    <a:pt x="109" y="53"/>
                    <a:pt x="116" y="53"/>
                  </a:cubicBezTo>
                  <a:cubicBezTo>
                    <a:pt x="122" y="53"/>
                    <a:pt x="128" y="47"/>
                    <a:pt x="128" y="41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69" y="30"/>
                    <a:pt x="202" y="63"/>
                    <a:pt x="208" y="104"/>
                  </a:cubicBezTo>
                  <a:cubicBezTo>
                    <a:pt x="190" y="104"/>
                    <a:pt x="190" y="104"/>
                    <a:pt x="190" y="104"/>
                  </a:cubicBezTo>
                  <a:cubicBezTo>
                    <a:pt x="184" y="104"/>
                    <a:pt x="179" y="109"/>
                    <a:pt x="179" y="116"/>
                  </a:cubicBezTo>
                  <a:cubicBezTo>
                    <a:pt x="179" y="122"/>
                    <a:pt x="184" y="128"/>
                    <a:pt x="190" y="128"/>
                  </a:cubicBezTo>
                  <a:cubicBezTo>
                    <a:pt x="208" y="128"/>
                    <a:pt x="208" y="128"/>
                    <a:pt x="208" y="128"/>
                  </a:cubicBezTo>
                  <a:cubicBezTo>
                    <a:pt x="203" y="169"/>
                    <a:pt x="170" y="202"/>
                    <a:pt x="129" y="208"/>
                  </a:cubicBezTo>
                  <a:close/>
                  <a:moveTo>
                    <a:pt x="124" y="94"/>
                  </a:moveTo>
                  <a:cubicBezTo>
                    <a:pt x="70" y="69"/>
                    <a:pt x="70" y="69"/>
                    <a:pt x="70" y="69"/>
                  </a:cubicBezTo>
                  <a:cubicBezTo>
                    <a:pt x="94" y="124"/>
                    <a:pt x="94" y="124"/>
                    <a:pt x="94" y="124"/>
                  </a:cubicBezTo>
                  <a:cubicBezTo>
                    <a:pt x="97" y="129"/>
                    <a:pt x="103" y="136"/>
                    <a:pt x="109" y="138"/>
                  </a:cubicBezTo>
                  <a:cubicBezTo>
                    <a:pt x="163" y="163"/>
                    <a:pt x="163" y="163"/>
                    <a:pt x="163" y="163"/>
                  </a:cubicBezTo>
                  <a:cubicBezTo>
                    <a:pt x="138" y="108"/>
                    <a:pt x="138" y="108"/>
                    <a:pt x="138" y="108"/>
                  </a:cubicBezTo>
                  <a:cubicBezTo>
                    <a:pt x="136" y="103"/>
                    <a:pt x="130" y="96"/>
                    <a:pt x="124" y="94"/>
                  </a:cubicBezTo>
                  <a:close/>
                  <a:moveTo>
                    <a:pt x="123" y="123"/>
                  </a:moveTo>
                  <a:cubicBezTo>
                    <a:pt x="119" y="126"/>
                    <a:pt x="113" y="126"/>
                    <a:pt x="110" y="123"/>
                  </a:cubicBezTo>
                  <a:cubicBezTo>
                    <a:pt x="106" y="119"/>
                    <a:pt x="106" y="113"/>
                    <a:pt x="110" y="109"/>
                  </a:cubicBezTo>
                  <a:cubicBezTo>
                    <a:pt x="113" y="106"/>
                    <a:pt x="119" y="106"/>
                    <a:pt x="123" y="109"/>
                  </a:cubicBezTo>
                  <a:cubicBezTo>
                    <a:pt x="127" y="113"/>
                    <a:pt x="127" y="119"/>
                    <a:pt x="123" y="12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文本框 7"/>
            <p:cNvSpPr txBox="1"/>
            <p:nvPr/>
          </p:nvSpPr>
          <p:spPr bwMode="auto">
            <a:xfrm>
              <a:off x="4483292" y="2648349"/>
              <a:ext cx="602729" cy="369332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rmAutofit/>
            </a:bodyPr>
            <a:lstStyle/>
            <a:p>
              <a:r>
                <a:rPr lang="en-US" altLang="ko-KR" sz="2400" dirty="0">
                  <a:solidFill>
                    <a:schemeClr val="accent2"/>
                  </a:solidFill>
                  <a:latin typeface="Impact" panose="020B0806030902050204" pitchFamily="34" charset="0"/>
                </a:rPr>
                <a:t>20XX</a:t>
              </a:r>
            </a:p>
          </p:txBody>
        </p:sp>
        <p:grpSp>
          <p:nvGrpSpPr>
            <p:cNvPr id="9" name="组合 8"/>
            <p:cNvGrpSpPr/>
            <p:nvPr/>
          </p:nvGrpSpPr>
          <p:grpSpPr>
            <a:xfrm>
              <a:off x="3730625" y="4325964"/>
              <a:ext cx="2108063" cy="944997"/>
              <a:chOff x="1326000" y="4868424"/>
              <a:chExt cx="2108063" cy="944997"/>
            </a:xfrm>
          </p:grpSpPr>
          <p:sp>
            <p:nvSpPr>
              <p:cNvPr id="28" name="矩形 27">
                <a:extLst>
                  <a:ext uri="{FF2B5EF4-FFF2-40B4-BE49-F238E27FC236}">
                    <a16:creationId xmlns:a16="http://schemas.microsoft.com/office/drawing/2014/main" id="{39340196-E1AA-4B49-976A-BF366BB2B662}"/>
                  </a:ext>
                </a:extLst>
              </p:cNvPr>
              <p:cNvSpPr/>
              <p:nvPr/>
            </p:nvSpPr>
            <p:spPr bwMode="auto">
              <a:xfrm>
                <a:off x="1326000" y="5256022"/>
                <a:ext cx="2108063" cy="5573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29" name="文本框 28">
                <a:extLst>
                  <a:ext uri="{FF2B5EF4-FFF2-40B4-BE49-F238E27FC236}">
                    <a16:creationId xmlns:a16="http://schemas.microsoft.com/office/drawing/2014/main" id="{4D5C24C6-4DD0-4193-AD42-019C1134797B}"/>
                  </a:ext>
                </a:extLst>
              </p:cNvPr>
              <p:cNvSpPr txBox="1"/>
              <p:nvPr/>
            </p:nvSpPr>
            <p:spPr bwMode="auto">
              <a:xfrm>
                <a:off x="1326000" y="4868424"/>
                <a:ext cx="2108063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altLang="zh-CN" b="1" dirty="0"/>
                  <a:t>…</a:t>
                </a:r>
                <a:r>
                  <a:rPr lang="zh-CN" altLang="en-US" b="1" dirty="0"/>
                  <a:t>进度</a:t>
                </a:r>
                <a:endParaRPr lang="en-US" altLang="zh-CN" b="1" dirty="0"/>
              </a:p>
            </p:txBody>
          </p:sp>
        </p:grpSp>
        <p:sp>
          <p:nvSpPr>
            <p:cNvPr id="10" name="矩形 9"/>
            <p:cNvSpPr/>
            <p:nvPr/>
          </p:nvSpPr>
          <p:spPr>
            <a:xfrm flipV="1">
              <a:off x="9184135" y="1820127"/>
              <a:ext cx="1691792" cy="143097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scene3d>
              <a:camera prst="perspectiveRelaxed" fov="5700000">
                <a:rot lat="16800000" lon="0" rev="0"/>
              </a:camera>
              <a:lightRig rig="soft" dir="t">
                <a:rot lat="0" lon="0" rev="4800000"/>
              </a:lightRig>
            </a:scene3d>
            <a:sp3d extrusionH="57150" prstMaterial="plastic">
              <a:bevelB w="0" h="254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任意多边形: 形状 10"/>
            <p:cNvSpPr/>
            <p:nvPr/>
          </p:nvSpPr>
          <p:spPr bwMode="auto">
            <a:xfrm>
              <a:off x="9725367" y="1688331"/>
              <a:ext cx="609329" cy="609329"/>
            </a:xfrm>
            <a:custGeom>
              <a:avLst/>
              <a:gdLst>
                <a:gd name="T0" fmla="*/ 0 w 236"/>
                <a:gd name="T1" fmla="*/ 118 h 236"/>
                <a:gd name="T2" fmla="*/ 236 w 236"/>
                <a:gd name="T3" fmla="*/ 118 h 236"/>
                <a:gd name="T4" fmla="*/ 150 w 236"/>
                <a:gd name="T5" fmla="*/ 168 h 236"/>
                <a:gd name="T6" fmla="*/ 128 w 236"/>
                <a:gd name="T7" fmla="*/ 196 h 236"/>
                <a:gd name="T8" fmla="*/ 125 w 236"/>
                <a:gd name="T9" fmla="*/ 199 h 236"/>
                <a:gd name="T10" fmla="*/ 111 w 236"/>
                <a:gd name="T11" fmla="*/ 198 h 236"/>
                <a:gd name="T12" fmla="*/ 110 w 236"/>
                <a:gd name="T13" fmla="*/ 180 h 236"/>
                <a:gd name="T14" fmla="*/ 90 w 236"/>
                <a:gd name="T15" fmla="*/ 173 h 236"/>
                <a:gd name="T16" fmla="*/ 79 w 236"/>
                <a:gd name="T17" fmla="*/ 166 h 236"/>
                <a:gd name="T18" fmla="*/ 78 w 236"/>
                <a:gd name="T19" fmla="*/ 160 h 236"/>
                <a:gd name="T20" fmla="*/ 89 w 236"/>
                <a:gd name="T21" fmla="*/ 147 h 236"/>
                <a:gd name="T22" fmla="*/ 91 w 236"/>
                <a:gd name="T23" fmla="*/ 148 h 236"/>
                <a:gd name="T24" fmla="*/ 119 w 236"/>
                <a:gd name="T25" fmla="*/ 160 h 236"/>
                <a:gd name="T26" fmla="*/ 137 w 236"/>
                <a:gd name="T27" fmla="*/ 145 h 236"/>
                <a:gd name="T28" fmla="*/ 133 w 236"/>
                <a:gd name="T29" fmla="*/ 137 h 236"/>
                <a:gd name="T30" fmla="*/ 122 w 236"/>
                <a:gd name="T31" fmla="*/ 130 h 236"/>
                <a:gd name="T32" fmla="*/ 109 w 236"/>
                <a:gd name="T33" fmla="*/ 125 h 236"/>
                <a:gd name="T34" fmla="*/ 98 w 236"/>
                <a:gd name="T35" fmla="*/ 120 h 236"/>
                <a:gd name="T36" fmla="*/ 89 w 236"/>
                <a:gd name="T37" fmla="*/ 113 h 236"/>
                <a:gd name="T38" fmla="*/ 82 w 236"/>
                <a:gd name="T39" fmla="*/ 103 h 236"/>
                <a:gd name="T40" fmla="*/ 79 w 236"/>
                <a:gd name="T41" fmla="*/ 90 h 236"/>
                <a:gd name="T42" fmla="*/ 110 w 236"/>
                <a:gd name="T43" fmla="*/ 57 h 236"/>
                <a:gd name="T44" fmla="*/ 111 w 236"/>
                <a:gd name="T45" fmla="*/ 38 h 236"/>
                <a:gd name="T46" fmla="*/ 125 w 236"/>
                <a:gd name="T47" fmla="*/ 37 h 236"/>
                <a:gd name="T48" fmla="*/ 128 w 236"/>
                <a:gd name="T49" fmla="*/ 40 h 236"/>
                <a:gd name="T50" fmla="*/ 137 w 236"/>
                <a:gd name="T51" fmla="*/ 58 h 236"/>
                <a:gd name="T52" fmla="*/ 151 w 236"/>
                <a:gd name="T53" fmla="*/ 65 h 236"/>
                <a:gd name="T54" fmla="*/ 155 w 236"/>
                <a:gd name="T55" fmla="*/ 69 h 236"/>
                <a:gd name="T56" fmla="*/ 149 w 236"/>
                <a:gd name="T57" fmla="*/ 85 h 236"/>
                <a:gd name="T58" fmla="*/ 144 w 236"/>
                <a:gd name="T59" fmla="*/ 86 h 236"/>
                <a:gd name="T60" fmla="*/ 140 w 236"/>
                <a:gd name="T61" fmla="*/ 82 h 236"/>
                <a:gd name="T62" fmla="*/ 128 w 236"/>
                <a:gd name="T63" fmla="*/ 77 h 236"/>
                <a:gd name="T64" fmla="*/ 107 w 236"/>
                <a:gd name="T65" fmla="*/ 80 h 236"/>
                <a:gd name="T66" fmla="*/ 102 w 236"/>
                <a:gd name="T67" fmla="*/ 94 h 236"/>
                <a:gd name="T68" fmla="*/ 108 w 236"/>
                <a:gd name="T69" fmla="*/ 101 h 236"/>
                <a:gd name="T70" fmla="*/ 118 w 236"/>
                <a:gd name="T71" fmla="*/ 106 h 236"/>
                <a:gd name="T72" fmla="*/ 132 w 236"/>
                <a:gd name="T73" fmla="*/ 112 h 236"/>
                <a:gd name="T74" fmla="*/ 145 w 236"/>
                <a:gd name="T75" fmla="*/ 119 h 236"/>
                <a:gd name="T76" fmla="*/ 155 w 236"/>
                <a:gd name="T77" fmla="*/ 129 h 236"/>
                <a:gd name="T78" fmla="*/ 159 w 236"/>
                <a:gd name="T79" fmla="*/ 144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6" h="236">
                  <a:moveTo>
                    <a:pt x="118" y="0"/>
                  </a:moveTo>
                  <a:cubicBezTo>
                    <a:pt x="53" y="0"/>
                    <a:pt x="0" y="53"/>
                    <a:pt x="0" y="118"/>
                  </a:cubicBezTo>
                  <a:cubicBezTo>
                    <a:pt x="0" y="183"/>
                    <a:pt x="53" y="236"/>
                    <a:pt x="118" y="236"/>
                  </a:cubicBezTo>
                  <a:cubicBezTo>
                    <a:pt x="183" y="236"/>
                    <a:pt x="236" y="183"/>
                    <a:pt x="236" y="118"/>
                  </a:cubicBezTo>
                  <a:cubicBezTo>
                    <a:pt x="236" y="53"/>
                    <a:pt x="183" y="0"/>
                    <a:pt x="118" y="0"/>
                  </a:cubicBezTo>
                  <a:moveTo>
                    <a:pt x="150" y="168"/>
                  </a:moveTo>
                  <a:cubicBezTo>
                    <a:pt x="145" y="175"/>
                    <a:pt x="137" y="179"/>
                    <a:pt x="128" y="180"/>
                  </a:cubicBezTo>
                  <a:cubicBezTo>
                    <a:pt x="128" y="196"/>
                    <a:pt x="128" y="196"/>
                    <a:pt x="128" y="196"/>
                  </a:cubicBezTo>
                  <a:cubicBezTo>
                    <a:pt x="128" y="197"/>
                    <a:pt x="127" y="198"/>
                    <a:pt x="127" y="198"/>
                  </a:cubicBezTo>
                  <a:cubicBezTo>
                    <a:pt x="126" y="199"/>
                    <a:pt x="126" y="199"/>
                    <a:pt x="125" y="199"/>
                  </a:cubicBezTo>
                  <a:cubicBezTo>
                    <a:pt x="113" y="199"/>
                    <a:pt x="113" y="199"/>
                    <a:pt x="113" y="199"/>
                  </a:cubicBezTo>
                  <a:cubicBezTo>
                    <a:pt x="112" y="199"/>
                    <a:pt x="111" y="199"/>
                    <a:pt x="111" y="198"/>
                  </a:cubicBezTo>
                  <a:cubicBezTo>
                    <a:pt x="110" y="197"/>
                    <a:pt x="110" y="197"/>
                    <a:pt x="110" y="196"/>
                  </a:cubicBezTo>
                  <a:cubicBezTo>
                    <a:pt x="110" y="180"/>
                    <a:pt x="110" y="180"/>
                    <a:pt x="110" y="180"/>
                  </a:cubicBezTo>
                  <a:cubicBezTo>
                    <a:pt x="106" y="180"/>
                    <a:pt x="102" y="179"/>
                    <a:pt x="99" y="177"/>
                  </a:cubicBezTo>
                  <a:cubicBezTo>
                    <a:pt x="95" y="176"/>
                    <a:pt x="92" y="175"/>
                    <a:pt x="90" y="173"/>
                  </a:cubicBezTo>
                  <a:cubicBezTo>
                    <a:pt x="88" y="172"/>
                    <a:pt x="85" y="171"/>
                    <a:pt x="83" y="169"/>
                  </a:cubicBezTo>
                  <a:cubicBezTo>
                    <a:pt x="81" y="168"/>
                    <a:pt x="80" y="166"/>
                    <a:pt x="79" y="166"/>
                  </a:cubicBezTo>
                  <a:cubicBezTo>
                    <a:pt x="79" y="165"/>
                    <a:pt x="78" y="164"/>
                    <a:pt x="78" y="164"/>
                  </a:cubicBezTo>
                  <a:cubicBezTo>
                    <a:pt x="77" y="163"/>
                    <a:pt x="77" y="162"/>
                    <a:pt x="78" y="160"/>
                  </a:cubicBezTo>
                  <a:cubicBezTo>
                    <a:pt x="87" y="148"/>
                    <a:pt x="87" y="148"/>
                    <a:pt x="87" y="148"/>
                  </a:cubicBezTo>
                  <a:cubicBezTo>
                    <a:pt x="87" y="148"/>
                    <a:pt x="88" y="147"/>
                    <a:pt x="89" y="147"/>
                  </a:cubicBezTo>
                  <a:cubicBezTo>
                    <a:pt x="90" y="147"/>
                    <a:pt x="90" y="147"/>
                    <a:pt x="91" y="148"/>
                  </a:cubicBezTo>
                  <a:cubicBezTo>
                    <a:pt x="91" y="148"/>
                    <a:pt x="91" y="148"/>
                    <a:pt x="91" y="148"/>
                  </a:cubicBezTo>
                  <a:cubicBezTo>
                    <a:pt x="98" y="154"/>
                    <a:pt x="105" y="158"/>
                    <a:pt x="112" y="159"/>
                  </a:cubicBezTo>
                  <a:cubicBezTo>
                    <a:pt x="115" y="160"/>
                    <a:pt x="117" y="160"/>
                    <a:pt x="119" y="160"/>
                  </a:cubicBezTo>
                  <a:cubicBezTo>
                    <a:pt x="124" y="160"/>
                    <a:pt x="128" y="159"/>
                    <a:pt x="131" y="156"/>
                  </a:cubicBezTo>
                  <a:cubicBezTo>
                    <a:pt x="135" y="154"/>
                    <a:pt x="137" y="150"/>
                    <a:pt x="137" y="145"/>
                  </a:cubicBezTo>
                  <a:cubicBezTo>
                    <a:pt x="137" y="144"/>
                    <a:pt x="136" y="142"/>
                    <a:pt x="136" y="140"/>
                  </a:cubicBezTo>
                  <a:cubicBezTo>
                    <a:pt x="135" y="139"/>
                    <a:pt x="134" y="138"/>
                    <a:pt x="133" y="137"/>
                  </a:cubicBezTo>
                  <a:cubicBezTo>
                    <a:pt x="132" y="136"/>
                    <a:pt x="130" y="135"/>
                    <a:pt x="127" y="133"/>
                  </a:cubicBezTo>
                  <a:cubicBezTo>
                    <a:pt x="125" y="132"/>
                    <a:pt x="123" y="131"/>
                    <a:pt x="122" y="130"/>
                  </a:cubicBezTo>
                  <a:cubicBezTo>
                    <a:pt x="120" y="130"/>
                    <a:pt x="118" y="129"/>
                    <a:pt x="115" y="128"/>
                  </a:cubicBezTo>
                  <a:cubicBezTo>
                    <a:pt x="112" y="127"/>
                    <a:pt x="110" y="126"/>
                    <a:pt x="109" y="125"/>
                  </a:cubicBezTo>
                  <a:cubicBezTo>
                    <a:pt x="108" y="125"/>
                    <a:pt x="106" y="124"/>
                    <a:pt x="104" y="123"/>
                  </a:cubicBezTo>
                  <a:cubicBezTo>
                    <a:pt x="101" y="122"/>
                    <a:pt x="100" y="121"/>
                    <a:pt x="98" y="120"/>
                  </a:cubicBezTo>
                  <a:cubicBezTo>
                    <a:pt x="97" y="119"/>
                    <a:pt x="95" y="118"/>
                    <a:pt x="93" y="117"/>
                  </a:cubicBezTo>
                  <a:cubicBezTo>
                    <a:pt x="91" y="116"/>
                    <a:pt x="90" y="114"/>
                    <a:pt x="89" y="113"/>
                  </a:cubicBezTo>
                  <a:cubicBezTo>
                    <a:pt x="87" y="112"/>
                    <a:pt x="86" y="110"/>
                    <a:pt x="85" y="109"/>
                  </a:cubicBezTo>
                  <a:cubicBezTo>
                    <a:pt x="83" y="107"/>
                    <a:pt x="82" y="105"/>
                    <a:pt x="82" y="103"/>
                  </a:cubicBezTo>
                  <a:cubicBezTo>
                    <a:pt x="81" y="102"/>
                    <a:pt x="80" y="100"/>
                    <a:pt x="80" y="97"/>
                  </a:cubicBezTo>
                  <a:cubicBezTo>
                    <a:pt x="79" y="95"/>
                    <a:pt x="79" y="93"/>
                    <a:pt x="79" y="90"/>
                  </a:cubicBezTo>
                  <a:cubicBezTo>
                    <a:pt x="79" y="82"/>
                    <a:pt x="82" y="75"/>
                    <a:pt x="88" y="69"/>
                  </a:cubicBezTo>
                  <a:cubicBezTo>
                    <a:pt x="93" y="62"/>
                    <a:pt x="101" y="58"/>
                    <a:pt x="110" y="57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10" y="40"/>
                    <a:pt x="110" y="39"/>
                    <a:pt x="111" y="38"/>
                  </a:cubicBezTo>
                  <a:cubicBezTo>
                    <a:pt x="111" y="38"/>
                    <a:pt x="112" y="37"/>
                    <a:pt x="113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6" y="37"/>
                    <a:pt x="126" y="38"/>
                    <a:pt x="127" y="38"/>
                  </a:cubicBezTo>
                  <a:cubicBezTo>
                    <a:pt x="127" y="39"/>
                    <a:pt x="128" y="39"/>
                    <a:pt x="128" y="40"/>
                  </a:cubicBezTo>
                  <a:cubicBezTo>
                    <a:pt x="128" y="56"/>
                    <a:pt x="128" y="56"/>
                    <a:pt x="128" y="56"/>
                  </a:cubicBezTo>
                  <a:cubicBezTo>
                    <a:pt x="131" y="57"/>
                    <a:pt x="134" y="57"/>
                    <a:pt x="137" y="58"/>
                  </a:cubicBezTo>
                  <a:cubicBezTo>
                    <a:pt x="140" y="59"/>
                    <a:pt x="143" y="60"/>
                    <a:pt x="145" y="61"/>
                  </a:cubicBezTo>
                  <a:cubicBezTo>
                    <a:pt x="147" y="62"/>
                    <a:pt x="149" y="63"/>
                    <a:pt x="151" y="65"/>
                  </a:cubicBezTo>
                  <a:cubicBezTo>
                    <a:pt x="152" y="66"/>
                    <a:pt x="153" y="67"/>
                    <a:pt x="154" y="67"/>
                  </a:cubicBezTo>
                  <a:cubicBezTo>
                    <a:pt x="155" y="68"/>
                    <a:pt x="155" y="68"/>
                    <a:pt x="155" y="69"/>
                  </a:cubicBezTo>
                  <a:cubicBezTo>
                    <a:pt x="156" y="70"/>
                    <a:pt x="156" y="71"/>
                    <a:pt x="156" y="72"/>
                  </a:cubicBezTo>
                  <a:cubicBezTo>
                    <a:pt x="149" y="85"/>
                    <a:pt x="149" y="85"/>
                    <a:pt x="149" y="85"/>
                  </a:cubicBezTo>
                  <a:cubicBezTo>
                    <a:pt x="148" y="86"/>
                    <a:pt x="148" y="86"/>
                    <a:pt x="147" y="87"/>
                  </a:cubicBezTo>
                  <a:cubicBezTo>
                    <a:pt x="146" y="87"/>
                    <a:pt x="145" y="86"/>
                    <a:pt x="144" y="86"/>
                  </a:cubicBezTo>
                  <a:cubicBezTo>
                    <a:pt x="144" y="86"/>
                    <a:pt x="144" y="85"/>
                    <a:pt x="143" y="85"/>
                  </a:cubicBezTo>
                  <a:cubicBezTo>
                    <a:pt x="142" y="84"/>
                    <a:pt x="141" y="83"/>
                    <a:pt x="140" y="82"/>
                  </a:cubicBezTo>
                  <a:cubicBezTo>
                    <a:pt x="138" y="81"/>
                    <a:pt x="136" y="80"/>
                    <a:pt x="134" y="80"/>
                  </a:cubicBezTo>
                  <a:cubicBezTo>
                    <a:pt x="133" y="79"/>
                    <a:pt x="130" y="78"/>
                    <a:pt x="128" y="77"/>
                  </a:cubicBezTo>
                  <a:cubicBezTo>
                    <a:pt x="125" y="77"/>
                    <a:pt x="123" y="76"/>
                    <a:pt x="120" y="76"/>
                  </a:cubicBezTo>
                  <a:cubicBezTo>
                    <a:pt x="115" y="76"/>
                    <a:pt x="110" y="77"/>
                    <a:pt x="107" y="80"/>
                  </a:cubicBezTo>
                  <a:cubicBezTo>
                    <a:pt x="103" y="83"/>
                    <a:pt x="101" y="86"/>
                    <a:pt x="101" y="90"/>
                  </a:cubicBezTo>
                  <a:cubicBezTo>
                    <a:pt x="101" y="92"/>
                    <a:pt x="102" y="93"/>
                    <a:pt x="102" y="94"/>
                  </a:cubicBezTo>
                  <a:cubicBezTo>
                    <a:pt x="103" y="96"/>
                    <a:pt x="103" y="97"/>
                    <a:pt x="105" y="98"/>
                  </a:cubicBezTo>
                  <a:cubicBezTo>
                    <a:pt x="106" y="99"/>
                    <a:pt x="107" y="100"/>
                    <a:pt x="108" y="101"/>
                  </a:cubicBezTo>
                  <a:cubicBezTo>
                    <a:pt x="109" y="102"/>
                    <a:pt x="111" y="103"/>
                    <a:pt x="113" y="104"/>
                  </a:cubicBezTo>
                  <a:cubicBezTo>
                    <a:pt x="115" y="105"/>
                    <a:pt x="117" y="106"/>
                    <a:pt x="118" y="106"/>
                  </a:cubicBezTo>
                  <a:cubicBezTo>
                    <a:pt x="120" y="107"/>
                    <a:pt x="122" y="108"/>
                    <a:pt x="125" y="109"/>
                  </a:cubicBezTo>
                  <a:cubicBezTo>
                    <a:pt x="128" y="110"/>
                    <a:pt x="130" y="111"/>
                    <a:pt x="132" y="112"/>
                  </a:cubicBezTo>
                  <a:cubicBezTo>
                    <a:pt x="133" y="112"/>
                    <a:pt x="136" y="113"/>
                    <a:pt x="138" y="115"/>
                  </a:cubicBezTo>
                  <a:cubicBezTo>
                    <a:pt x="141" y="116"/>
                    <a:pt x="143" y="117"/>
                    <a:pt x="145" y="119"/>
                  </a:cubicBezTo>
                  <a:cubicBezTo>
                    <a:pt x="147" y="120"/>
                    <a:pt x="149" y="121"/>
                    <a:pt x="151" y="123"/>
                  </a:cubicBezTo>
                  <a:cubicBezTo>
                    <a:pt x="153" y="125"/>
                    <a:pt x="154" y="127"/>
                    <a:pt x="155" y="129"/>
                  </a:cubicBezTo>
                  <a:cubicBezTo>
                    <a:pt x="156" y="131"/>
                    <a:pt x="157" y="133"/>
                    <a:pt x="158" y="136"/>
                  </a:cubicBezTo>
                  <a:cubicBezTo>
                    <a:pt x="159" y="138"/>
                    <a:pt x="159" y="141"/>
                    <a:pt x="159" y="144"/>
                  </a:cubicBezTo>
                  <a:cubicBezTo>
                    <a:pt x="159" y="153"/>
                    <a:pt x="156" y="161"/>
                    <a:pt x="150" y="168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文本框 11"/>
            <p:cNvSpPr txBox="1"/>
            <p:nvPr/>
          </p:nvSpPr>
          <p:spPr bwMode="auto">
            <a:xfrm>
              <a:off x="9729468" y="1192976"/>
              <a:ext cx="601127" cy="369332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rmAutofit/>
            </a:bodyPr>
            <a:lstStyle/>
            <a:p>
              <a:r>
                <a:rPr lang="en-US" altLang="ko-KR" sz="2400" dirty="0">
                  <a:solidFill>
                    <a:schemeClr val="accent4"/>
                  </a:solidFill>
                  <a:latin typeface="Impact" panose="020B0806030902050204" pitchFamily="34" charset="0"/>
                </a:rPr>
                <a:t>20XX</a:t>
              </a:r>
            </a:p>
          </p:txBody>
        </p:sp>
        <p:grpSp>
          <p:nvGrpSpPr>
            <p:cNvPr id="13" name="组合 12"/>
            <p:cNvGrpSpPr/>
            <p:nvPr/>
          </p:nvGrpSpPr>
          <p:grpSpPr>
            <a:xfrm>
              <a:off x="8976000" y="2876543"/>
              <a:ext cx="2108063" cy="944997"/>
              <a:chOff x="1326000" y="4868424"/>
              <a:chExt cx="2108063" cy="944997"/>
            </a:xfrm>
          </p:grpSpPr>
          <p:sp>
            <p:nvSpPr>
              <p:cNvPr id="26" name="矩形 25">
                <a:extLst>
                  <a:ext uri="{FF2B5EF4-FFF2-40B4-BE49-F238E27FC236}">
                    <a16:creationId xmlns:a16="http://schemas.microsoft.com/office/drawing/2014/main" id="{39340196-E1AA-4B49-976A-BF366BB2B662}"/>
                  </a:ext>
                </a:extLst>
              </p:cNvPr>
              <p:cNvSpPr/>
              <p:nvPr/>
            </p:nvSpPr>
            <p:spPr bwMode="auto">
              <a:xfrm>
                <a:off x="1326000" y="5256022"/>
                <a:ext cx="2108063" cy="5573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4D5C24C6-4DD0-4193-AD42-019C1134797B}"/>
                  </a:ext>
                </a:extLst>
              </p:cNvPr>
              <p:cNvSpPr txBox="1"/>
              <p:nvPr/>
            </p:nvSpPr>
            <p:spPr bwMode="auto">
              <a:xfrm>
                <a:off x="1326000" y="4868424"/>
                <a:ext cx="2108063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altLang="zh-CN" b="1" dirty="0"/>
                  <a:t>…</a:t>
                </a:r>
                <a:r>
                  <a:rPr lang="zh-CN" altLang="en-US" b="1" dirty="0"/>
                  <a:t>进度</a:t>
                </a:r>
                <a:endParaRPr lang="en-US" altLang="zh-CN" b="1" dirty="0"/>
              </a:p>
            </p:txBody>
          </p:sp>
        </p:grpSp>
        <p:sp>
          <p:nvSpPr>
            <p:cNvPr id="14" name="矩形 13"/>
            <p:cNvSpPr/>
            <p:nvPr/>
          </p:nvSpPr>
          <p:spPr>
            <a:xfrm flipV="1">
              <a:off x="6561448" y="2547047"/>
              <a:ext cx="1691792" cy="143097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scene3d>
              <a:camera prst="perspectiveRelaxed" fov="5700000">
                <a:rot lat="16800000" lon="0" rev="0"/>
              </a:camera>
              <a:lightRig rig="soft" dir="t">
                <a:rot lat="0" lon="0" rev="4800000"/>
              </a:lightRig>
            </a:scene3d>
            <a:sp3d extrusionH="57150" prstMaterial="plastic">
              <a:bevelT w="0" h="12700"/>
              <a:bevelB w="0" h="254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任意多边形: 形状 14"/>
            <p:cNvSpPr/>
            <p:nvPr/>
          </p:nvSpPr>
          <p:spPr bwMode="auto">
            <a:xfrm>
              <a:off x="7102680" y="2351017"/>
              <a:ext cx="609329" cy="609329"/>
            </a:xfrm>
            <a:custGeom>
              <a:avLst/>
              <a:gdLst>
                <a:gd name="T0" fmla="*/ 182 w 236"/>
                <a:gd name="T1" fmla="*/ 109 h 236"/>
                <a:gd name="T2" fmla="*/ 157 w 236"/>
                <a:gd name="T3" fmla="*/ 103 h 236"/>
                <a:gd name="T4" fmla="*/ 134 w 236"/>
                <a:gd name="T5" fmla="*/ 102 h 236"/>
                <a:gd name="T6" fmla="*/ 120 w 236"/>
                <a:gd name="T7" fmla="*/ 114 h 236"/>
                <a:gd name="T8" fmla="*/ 118 w 236"/>
                <a:gd name="T9" fmla="*/ 129 h 236"/>
                <a:gd name="T10" fmla="*/ 122 w 236"/>
                <a:gd name="T11" fmla="*/ 141 h 236"/>
                <a:gd name="T12" fmla="*/ 135 w 236"/>
                <a:gd name="T13" fmla="*/ 156 h 236"/>
                <a:gd name="T14" fmla="*/ 139 w 236"/>
                <a:gd name="T15" fmla="*/ 185 h 236"/>
                <a:gd name="T16" fmla="*/ 152 w 236"/>
                <a:gd name="T17" fmla="*/ 198 h 236"/>
                <a:gd name="T18" fmla="*/ 169 w 236"/>
                <a:gd name="T19" fmla="*/ 180 h 236"/>
                <a:gd name="T20" fmla="*/ 187 w 236"/>
                <a:gd name="T21" fmla="*/ 150 h 236"/>
                <a:gd name="T22" fmla="*/ 200 w 236"/>
                <a:gd name="T23" fmla="*/ 122 h 236"/>
                <a:gd name="T24" fmla="*/ 182 w 236"/>
                <a:gd name="T25" fmla="*/ 109 h 236"/>
                <a:gd name="T26" fmla="*/ 118 w 236"/>
                <a:gd name="T27" fmla="*/ 0 h 236"/>
                <a:gd name="T28" fmla="*/ 0 w 236"/>
                <a:gd name="T29" fmla="*/ 118 h 236"/>
                <a:gd name="T30" fmla="*/ 118 w 236"/>
                <a:gd name="T31" fmla="*/ 236 h 236"/>
                <a:gd name="T32" fmla="*/ 236 w 236"/>
                <a:gd name="T33" fmla="*/ 118 h 236"/>
                <a:gd name="T34" fmla="*/ 118 w 236"/>
                <a:gd name="T35" fmla="*/ 0 h 236"/>
                <a:gd name="T36" fmla="*/ 126 w 236"/>
                <a:gd name="T37" fmla="*/ 212 h 236"/>
                <a:gd name="T38" fmla="*/ 128 w 236"/>
                <a:gd name="T39" fmla="*/ 208 h 236"/>
                <a:gd name="T40" fmla="*/ 125 w 236"/>
                <a:gd name="T41" fmla="*/ 186 h 236"/>
                <a:gd name="T42" fmla="*/ 105 w 236"/>
                <a:gd name="T43" fmla="*/ 186 h 236"/>
                <a:gd name="T44" fmla="*/ 98 w 236"/>
                <a:gd name="T45" fmla="*/ 207 h 236"/>
                <a:gd name="T46" fmla="*/ 102 w 236"/>
                <a:gd name="T47" fmla="*/ 211 h 236"/>
                <a:gd name="T48" fmla="*/ 34 w 236"/>
                <a:gd name="T49" fmla="*/ 161 h 236"/>
                <a:gd name="T50" fmla="*/ 44 w 236"/>
                <a:gd name="T51" fmla="*/ 157 h 236"/>
                <a:gd name="T52" fmla="*/ 44 w 236"/>
                <a:gd name="T53" fmla="*/ 157 h 236"/>
                <a:gd name="T54" fmla="*/ 81 w 236"/>
                <a:gd name="T55" fmla="*/ 142 h 236"/>
                <a:gd name="T56" fmla="*/ 81 w 236"/>
                <a:gd name="T57" fmla="*/ 118 h 236"/>
                <a:gd name="T58" fmla="*/ 55 w 236"/>
                <a:gd name="T59" fmla="*/ 94 h 236"/>
                <a:gd name="T60" fmla="*/ 28 w 236"/>
                <a:gd name="T61" fmla="*/ 90 h 236"/>
                <a:gd name="T62" fmla="*/ 84 w 236"/>
                <a:gd name="T63" fmla="*/ 30 h 236"/>
                <a:gd name="T64" fmla="*/ 84 w 236"/>
                <a:gd name="T65" fmla="*/ 31 h 236"/>
                <a:gd name="T66" fmla="*/ 102 w 236"/>
                <a:gd name="T67" fmla="*/ 56 h 236"/>
                <a:gd name="T68" fmla="*/ 120 w 236"/>
                <a:gd name="T69" fmla="*/ 79 h 236"/>
                <a:gd name="T70" fmla="*/ 131 w 236"/>
                <a:gd name="T71" fmla="*/ 97 h 236"/>
                <a:gd name="T72" fmla="*/ 146 w 236"/>
                <a:gd name="T73" fmla="*/ 88 h 236"/>
                <a:gd name="T74" fmla="*/ 177 w 236"/>
                <a:gd name="T75" fmla="*/ 66 h 236"/>
                <a:gd name="T76" fmla="*/ 190 w 236"/>
                <a:gd name="T77" fmla="*/ 57 h 236"/>
                <a:gd name="T78" fmla="*/ 212 w 236"/>
                <a:gd name="T79" fmla="*/ 118 h 236"/>
                <a:gd name="T80" fmla="*/ 126 w 236"/>
                <a:gd name="T81" fmla="*/ 212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36" h="236">
                  <a:moveTo>
                    <a:pt x="182" y="109"/>
                  </a:moveTo>
                  <a:cubicBezTo>
                    <a:pt x="172" y="107"/>
                    <a:pt x="161" y="105"/>
                    <a:pt x="157" y="103"/>
                  </a:cubicBezTo>
                  <a:cubicBezTo>
                    <a:pt x="153" y="102"/>
                    <a:pt x="143" y="101"/>
                    <a:pt x="134" y="102"/>
                  </a:cubicBezTo>
                  <a:cubicBezTo>
                    <a:pt x="125" y="103"/>
                    <a:pt x="119" y="109"/>
                    <a:pt x="120" y="114"/>
                  </a:cubicBezTo>
                  <a:cubicBezTo>
                    <a:pt x="121" y="119"/>
                    <a:pt x="120" y="126"/>
                    <a:pt x="118" y="129"/>
                  </a:cubicBezTo>
                  <a:cubicBezTo>
                    <a:pt x="117" y="132"/>
                    <a:pt x="118" y="138"/>
                    <a:pt x="122" y="141"/>
                  </a:cubicBezTo>
                  <a:cubicBezTo>
                    <a:pt x="127" y="144"/>
                    <a:pt x="132" y="151"/>
                    <a:pt x="135" y="156"/>
                  </a:cubicBezTo>
                  <a:cubicBezTo>
                    <a:pt x="138" y="162"/>
                    <a:pt x="140" y="175"/>
                    <a:pt x="139" y="185"/>
                  </a:cubicBezTo>
                  <a:cubicBezTo>
                    <a:pt x="139" y="195"/>
                    <a:pt x="145" y="201"/>
                    <a:pt x="152" y="198"/>
                  </a:cubicBezTo>
                  <a:cubicBezTo>
                    <a:pt x="160" y="195"/>
                    <a:pt x="167" y="187"/>
                    <a:pt x="169" y="180"/>
                  </a:cubicBezTo>
                  <a:cubicBezTo>
                    <a:pt x="171" y="174"/>
                    <a:pt x="179" y="160"/>
                    <a:pt x="187" y="150"/>
                  </a:cubicBezTo>
                  <a:cubicBezTo>
                    <a:pt x="195" y="140"/>
                    <a:pt x="201" y="127"/>
                    <a:pt x="200" y="122"/>
                  </a:cubicBezTo>
                  <a:cubicBezTo>
                    <a:pt x="200" y="116"/>
                    <a:pt x="191" y="111"/>
                    <a:pt x="182" y="109"/>
                  </a:cubicBezTo>
                  <a:close/>
                  <a:moveTo>
                    <a:pt x="118" y="0"/>
                  </a:moveTo>
                  <a:cubicBezTo>
                    <a:pt x="53" y="0"/>
                    <a:pt x="0" y="53"/>
                    <a:pt x="0" y="118"/>
                  </a:cubicBezTo>
                  <a:cubicBezTo>
                    <a:pt x="0" y="183"/>
                    <a:pt x="53" y="236"/>
                    <a:pt x="118" y="236"/>
                  </a:cubicBezTo>
                  <a:cubicBezTo>
                    <a:pt x="183" y="236"/>
                    <a:pt x="236" y="183"/>
                    <a:pt x="236" y="118"/>
                  </a:cubicBezTo>
                  <a:cubicBezTo>
                    <a:pt x="236" y="53"/>
                    <a:pt x="183" y="0"/>
                    <a:pt x="118" y="0"/>
                  </a:cubicBezTo>
                  <a:close/>
                  <a:moveTo>
                    <a:pt x="126" y="212"/>
                  </a:moveTo>
                  <a:cubicBezTo>
                    <a:pt x="127" y="211"/>
                    <a:pt x="128" y="209"/>
                    <a:pt x="128" y="208"/>
                  </a:cubicBezTo>
                  <a:cubicBezTo>
                    <a:pt x="130" y="201"/>
                    <a:pt x="128" y="191"/>
                    <a:pt x="125" y="186"/>
                  </a:cubicBezTo>
                  <a:cubicBezTo>
                    <a:pt x="121" y="181"/>
                    <a:pt x="112" y="181"/>
                    <a:pt x="105" y="186"/>
                  </a:cubicBezTo>
                  <a:cubicBezTo>
                    <a:pt x="97" y="191"/>
                    <a:pt x="94" y="200"/>
                    <a:pt x="98" y="207"/>
                  </a:cubicBezTo>
                  <a:cubicBezTo>
                    <a:pt x="99" y="208"/>
                    <a:pt x="100" y="210"/>
                    <a:pt x="102" y="211"/>
                  </a:cubicBezTo>
                  <a:cubicBezTo>
                    <a:pt x="72" y="206"/>
                    <a:pt x="47" y="187"/>
                    <a:pt x="34" y="161"/>
                  </a:cubicBezTo>
                  <a:cubicBezTo>
                    <a:pt x="37" y="161"/>
                    <a:pt x="40" y="159"/>
                    <a:pt x="44" y="157"/>
                  </a:cubicBezTo>
                  <a:cubicBezTo>
                    <a:pt x="44" y="157"/>
                    <a:pt x="44" y="157"/>
                    <a:pt x="44" y="157"/>
                  </a:cubicBezTo>
                  <a:cubicBezTo>
                    <a:pt x="57" y="148"/>
                    <a:pt x="74" y="141"/>
                    <a:pt x="81" y="142"/>
                  </a:cubicBezTo>
                  <a:cubicBezTo>
                    <a:pt x="89" y="142"/>
                    <a:pt x="89" y="131"/>
                    <a:pt x="81" y="118"/>
                  </a:cubicBezTo>
                  <a:cubicBezTo>
                    <a:pt x="74" y="105"/>
                    <a:pt x="62" y="94"/>
                    <a:pt x="55" y="94"/>
                  </a:cubicBezTo>
                  <a:cubicBezTo>
                    <a:pt x="48" y="94"/>
                    <a:pt x="36" y="92"/>
                    <a:pt x="28" y="90"/>
                  </a:cubicBezTo>
                  <a:cubicBezTo>
                    <a:pt x="37" y="62"/>
                    <a:pt x="58" y="41"/>
                    <a:pt x="84" y="30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6" y="39"/>
                    <a:pt x="95" y="50"/>
                    <a:pt x="102" y="56"/>
                  </a:cubicBezTo>
                  <a:cubicBezTo>
                    <a:pt x="110" y="62"/>
                    <a:pt x="118" y="72"/>
                    <a:pt x="120" y="79"/>
                  </a:cubicBezTo>
                  <a:cubicBezTo>
                    <a:pt x="122" y="85"/>
                    <a:pt x="127" y="93"/>
                    <a:pt x="131" y="97"/>
                  </a:cubicBezTo>
                  <a:cubicBezTo>
                    <a:pt x="136" y="100"/>
                    <a:pt x="142" y="96"/>
                    <a:pt x="146" y="88"/>
                  </a:cubicBezTo>
                  <a:cubicBezTo>
                    <a:pt x="150" y="80"/>
                    <a:pt x="164" y="70"/>
                    <a:pt x="177" y="66"/>
                  </a:cubicBezTo>
                  <a:cubicBezTo>
                    <a:pt x="183" y="64"/>
                    <a:pt x="187" y="61"/>
                    <a:pt x="190" y="57"/>
                  </a:cubicBezTo>
                  <a:cubicBezTo>
                    <a:pt x="204" y="74"/>
                    <a:pt x="212" y="95"/>
                    <a:pt x="212" y="118"/>
                  </a:cubicBezTo>
                  <a:cubicBezTo>
                    <a:pt x="212" y="168"/>
                    <a:pt x="174" y="208"/>
                    <a:pt x="126" y="21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文本框 15"/>
            <p:cNvSpPr txBox="1"/>
            <p:nvPr/>
          </p:nvSpPr>
          <p:spPr bwMode="auto">
            <a:xfrm>
              <a:off x="7129223" y="1922464"/>
              <a:ext cx="556243" cy="369332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rmAutofit/>
            </a:bodyPr>
            <a:lstStyle/>
            <a:p>
              <a:r>
                <a:rPr lang="en-US" altLang="ko-KR" sz="2400" dirty="0">
                  <a:solidFill>
                    <a:schemeClr val="accent3"/>
                  </a:solidFill>
                  <a:latin typeface="Impact" panose="020B0806030902050204" pitchFamily="34" charset="0"/>
                </a:rPr>
                <a:t>20XX</a:t>
              </a:r>
            </a:p>
          </p:txBody>
        </p:sp>
        <p:grpSp>
          <p:nvGrpSpPr>
            <p:cNvPr id="17" name="组合 16"/>
            <p:cNvGrpSpPr/>
            <p:nvPr/>
          </p:nvGrpSpPr>
          <p:grpSpPr>
            <a:xfrm>
              <a:off x="6353313" y="3603463"/>
              <a:ext cx="2108063" cy="944997"/>
              <a:chOff x="1326000" y="4868424"/>
              <a:chExt cx="2108063" cy="944997"/>
            </a:xfrm>
          </p:grpSpPr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39340196-E1AA-4B49-976A-BF366BB2B662}"/>
                  </a:ext>
                </a:extLst>
              </p:cNvPr>
              <p:cNvSpPr/>
              <p:nvPr/>
            </p:nvSpPr>
            <p:spPr bwMode="auto">
              <a:xfrm>
                <a:off x="1326000" y="5256022"/>
                <a:ext cx="2108063" cy="5573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25" name="文本框 24">
                <a:extLst>
                  <a:ext uri="{FF2B5EF4-FFF2-40B4-BE49-F238E27FC236}">
                    <a16:creationId xmlns:a16="http://schemas.microsoft.com/office/drawing/2014/main" id="{4D5C24C6-4DD0-4193-AD42-019C1134797B}"/>
                  </a:ext>
                </a:extLst>
              </p:cNvPr>
              <p:cNvSpPr txBox="1"/>
              <p:nvPr/>
            </p:nvSpPr>
            <p:spPr bwMode="auto">
              <a:xfrm>
                <a:off x="1326000" y="4868424"/>
                <a:ext cx="2108063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altLang="zh-CN" b="1" dirty="0"/>
                  <a:t>…</a:t>
                </a:r>
                <a:r>
                  <a:rPr lang="zh-CN" altLang="en-US" b="1" dirty="0"/>
                  <a:t>进度</a:t>
                </a:r>
                <a:endParaRPr lang="en-US" altLang="zh-CN" b="1" dirty="0"/>
              </a:p>
            </p:txBody>
          </p:sp>
        </p:grpSp>
        <p:sp>
          <p:nvSpPr>
            <p:cNvPr id="18" name="矩形 17"/>
            <p:cNvSpPr/>
            <p:nvPr/>
          </p:nvSpPr>
          <p:spPr>
            <a:xfrm flipV="1">
              <a:off x="1316072" y="3992587"/>
              <a:ext cx="1691792" cy="143097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scene3d>
              <a:camera prst="perspectiveRelaxed" fov="5700000">
                <a:rot lat="16800000" lon="0" rev="0"/>
              </a:camera>
              <a:lightRig rig="soft" dir="t">
                <a:rot lat="0" lon="0" rev="4800000"/>
              </a:lightRig>
            </a:scene3d>
            <a:sp3d extrusionH="57150" prstMaterial="plastic">
              <a:bevelT w="0" h="12700"/>
              <a:bevelB w="0" h="254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任意多边形: 形状 18"/>
            <p:cNvSpPr/>
            <p:nvPr/>
          </p:nvSpPr>
          <p:spPr bwMode="auto">
            <a:xfrm>
              <a:off x="1857304" y="3784124"/>
              <a:ext cx="609329" cy="609329"/>
            </a:xfrm>
            <a:custGeom>
              <a:avLst/>
              <a:gdLst>
                <a:gd name="T0" fmla="*/ 184 w 260"/>
                <a:gd name="T1" fmla="*/ 106 h 260"/>
                <a:gd name="T2" fmla="*/ 193 w 260"/>
                <a:gd name="T3" fmla="*/ 143 h 260"/>
                <a:gd name="T4" fmla="*/ 117 w 260"/>
                <a:gd name="T5" fmla="*/ 219 h 260"/>
                <a:gd name="T6" fmla="*/ 42 w 260"/>
                <a:gd name="T7" fmla="*/ 143 h 260"/>
                <a:gd name="T8" fmla="*/ 117 w 260"/>
                <a:gd name="T9" fmla="*/ 66 h 260"/>
                <a:gd name="T10" fmla="*/ 154 w 260"/>
                <a:gd name="T11" fmla="*/ 76 h 260"/>
                <a:gd name="T12" fmla="*/ 183 w 260"/>
                <a:gd name="T13" fmla="*/ 46 h 260"/>
                <a:gd name="T14" fmla="*/ 117 w 260"/>
                <a:gd name="T15" fmla="*/ 25 h 260"/>
                <a:gd name="T16" fmla="*/ 0 w 260"/>
                <a:gd name="T17" fmla="*/ 143 h 260"/>
                <a:gd name="T18" fmla="*/ 117 w 260"/>
                <a:gd name="T19" fmla="*/ 260 h 260"/>
                <a:gd name="T20" fmla="*/ 233 w 260"/>
                <a:gd name="T21" fmla="*/ 143 h 260"/>
                <a:gd name="T22" fmla="*/ 213 w 260"/>
                <a:gd name="T23" fmla="*/ 77 h 260"/>
                <a:gd name="T24" fmla="*/ 184 w 260"/>
                <a:gd name="T25" fmla="*/ 106 h 260"/>
                <a:gd name="T26" fmla="*/ 225 w 260"/>
                <a:gd name="T27" fmla="*/ 35 h 260"/>
                <a:gd name="T28" fmla="*/ 225 w 260"/>
                <a:gd name="T29" fmla="*/ 35 h 260"/>
                <a:gd name="T30" fmla="*/ 225 w 260"/>
                <a:gd name="T31" fmla="*/ 0 h 260"/>
                <a:gd name="T32" fmla="*/ 203 w 260"/>
                <a:gd name="T33" fmla="*/ 23 h 260"/>
                <a:gd name="T34" fmla="*/ 203 w 260"/>
                <a:gd name="T35" fmla="*/ 46 h 260"/>
                <a:gd name="T36" fmla="*/ 139 w 260"/>
                <a:gd name="T37" fmla="*/ 111 h 260"/>
                <a:gd name="T38" fmla="*/ 117 w 260"/>
                <a:gd name="T39" fmla="*/ 104 h 260"/>
                <a:gd name="T40" fmla="*/ 79 w 260"/>
                <a:gd name="T41" fmla="*/ 143 h 260"/>
                <a:gd name="T42" fmla="*/ 117 w 260"/>
                <a:gd name="T43" fmla="*/ 181 h 260"/>
                <a:gd name="T44" fmla="*/ 155 w 260"/>
                <a:gd name="T45" fmla="*/ 143 h 260"/>
                <a:gd name="T46" fmla="*/ 150 w 260"/>
                <a:gd name="T47" fmla="*/ 123 h 260"/>
                <a:gd name="T48" fmla="*/ 215 w 260"/>
                <a:gd name="T49" fmla="*/ 58 h 260"/>
                <a:gd name="T50" fmla="*/ 237 w 260"/>
                <a:gd name="T51" fmla="*/ 58 h 260"/>
                <a:gd name="T52" fmla="*/ 260 w 260"/>
                <a:gd name="T53" fmla="*/ 35 h 260"/>
                <a:gd name="T54" fmla="*/ 225 w 260"/>
                <a:gd name="T55" fmla="*/ 35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60" h="260">
                  <a:moveTo>
                    <a:pt x="184" y="106"/>
                  </a:moveTo>
                  <a:cubicBezTo>
                    <a:pt x="190" y="117"/>
                    <a:pt x="193" y="129"/>
                    <a:pt x="193" y="143"/>
                  </a:cubicBezTo>
                  <a:cubicBezTo>
                    <a:pt x="193" y="185"/>
                    <a:pt x="159" y="219"/>
                    <a:pt x="117" y="219"/>
                  </a:cubicBezTo>
                  <a:cubicBezTo>
                    <a:pt x="76" y="219"/>
                    <a:pt x="42" y="185"/>
                    <a:pt x="42" y="143"/>
                  </a:cubicBezTo>
                  <a:cubicBezTo>
                    <a:pt x="42" y="100"/>
                    <a:pt x="76" y="66"/>
                    <a:pt x="117" y="66"/>
                  </a:cubicBezTo>
                  <a:cubicBezTo>
                    <a:pt x="131" y="66"/>
                    <a:pt x="143" y="70"/>
                    <a:pt x="154" y="76"/>
                  </a:cubicBezTo>
                  <a:cubicBezTo>
                    <a:pt x="183" y="46"/>
                    <a:pt x="183" y="46"/>
                    <a:pt x="183" y="46"/>
                  </a:cubicBezTo>
                  <a:cubicBezTo>
                    <a:pt x="165" y="33"/>
                    <a:pt x="141" y="25"/>
                    <a:pt x="117" y="25"/>
                  </a:cubicBezTo>
                  <a:cubicBezTo>
                    <a:pt x="52" y="25"/>
                    <a:pt x="0" y="78"/>
                    <a:pt x="0" y="143"/>
                  </a:cubicBezTo>
                  <a:cubicBezTo>
                    <a:pt x="0" y="207"/>
                    <a:pt x="52" y="260"/>
                    <a:pt x="117" y="260"/>
                  </a:cubicBezTo>
                  <a:cubicBezTo>
                    <a:pt x="181" y="260"/>
                    <a:pt x="233" y="207"/>
                    <a:pt x="233" y="143"/>
                  </a:cubicBezTo>
                  <a:cubicBezTo>
                    <a:pt x="233" y="118"/>
                    <a:pt x="226" y="96"/>
                    <a:pt x="213" y="77"/>
                  </a:cubicBezTo>
                  <a:cubicBezTo>
                    <a:pt x="184" y="106"/>
                    <a:pt x="184" y="106"/>
                    <a:pt x="184" y="106"/>
                  </a:cubicBezTo>
                  <a:close/>
                  <a:moveTo>
                    <a:pt x="225" y="35"/>
                  </a:moveTo>
                  <a:cubicBezTo>
                    <a:pt x="225" y="35"/>
                    <a:pt x="225" y="35"/>
                    <a:pt x="225" y="35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3" y="23"/>
                    <a:pt x="203" y="23"/>
                    <a:pt x="203" y="23"/>
                  </a:cubicBezTo>
                  <a:cubicBezTo>
                    <a:pt x="203" y="46"/>
                    <a:pt x="203" y="46"/>
                    <a:pt x="203" y="46"/>
                  </a:cubicBezTo>
                  <a:cubicBezTo>
                    <a:pt x="139" y="111"/>
                    <a:pt x="139" y="111"/>
                    <a:pt x="139" y="111"/>
                  </a:cubicBezTo>
                  <a:cubicBezTo>
                    <a:pt x="133" y="106"/>
                    <a:pt x="125" y="104"/>
                    <a:pt x="117" y="104"/>
                  </a:cubicBezTo>
                  <a:cubicBezTo>
                    <a:pt x="96" y="104"/>
                    <a:pt x="79" y="121"/>
                    <a:pt x="79" y="143"/>
                  </a:cubicBezTo>
                  <a:cubicBezTo>
                    <a:pt x="79" y="164"/>
                    <a:pt x="96" y="181"/>
                    <a:pt x="117" y="181"/>
                  </a:cubicBezTo>
                  <a:cubicBezTo>
                    <a:pt x="138" y="181"/>
                    <a:pt x="155" y="164"/>
                    <a:pt x="155" y="143"/>
                  </a:cubicBezTo>
                  <a:cubicBezTo>
                    <a:pt x="155" y="136"/>
                    <a:pt x="154" y="129"/>
                    <a:pt x="150" y="123"/>
                  </a:cubicBezTo>
                  <a:cubicBezTo>
                    <a:pt x="215" y="58"/>
                    <a:pt x="215" y="58"/>
                    <a:pt x="215" y="58"/>
                  </a:cubicBezTo>
                  <a:cubicBezTo>
                    <a:pt x="237" y="58"/>
                    <a:pt x="237" y="58"/>
                    <a:pt x="237" y="58"/>
                  </a:cubicBezTo>
                  <a:cubicBezTo>
                    <a:pt x="260" y="35"/>
                    <a:pt x="260" y="35"/>
                    <a:pt x="260" y="35"/>
                  </a:cubicBezTo>
                  <a:cubicBezTo>
                    <a:pt x="225" y="35"/>
                    <a:pt x="225" y="35"/>
                    <a:pt x="225" y="3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文本框 19"/>
            <p:cNvSpPr txBox="1"/>
            <p:nvPr/>
          </p:nvSpPr>
          <p:spPr bwMode="auto">
            <a:xfrm>
              <a:off x="1861405" y="3368478"/>
              <a:ext cx="601127" cy="369332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normAutofit/>
            </a:bodyPr>
            <a:lstStyle/>
            <a:p>
              <a:r>
                <a:rPr lang="en-US" altLang="ko-KR" sz="2400" b="0" dirty="0">
                  <a:solidFill>
                    <a:schemeClr val="accent1"/>
                  </a:solidFill>
                  <a:effectLst/>
                  <a:latin typeface="Impact" panose="020B0806030902050204" pitchFamily="34" charset="0"/>
                </a:rPr>
                <a:t>20XX</a:t>
              </a:r>
            </a:p>
          </p:txBody>
        </p:sp>
        <p:grpSp>
          <p:nvGrpSpPr>
            <p:cNvPr id="21" name="组合 20"/>
            <p:cNvGrpSpPr/>
            <p:nvPr/>
          </p:nvGrpSpPr>
          <p:grpSpPr>
            <a:xfrm>
              <a:off x="1107937" y="5049003"/>
              <a:ext cx="2108063" cy="944997"/>
              <a:chOff x="1326000" y="4868424"/>
              <a:chExt cx="2108063" cy="944997"/>
            </a:xfrm>
          </p:grpSpPr>
          <p:sp>
            <p:nvSpPr>
              <p:cNvPr id="22" name="矩形 21">
                <a:extLst>
                  <a:ext uri="{FF2B5EF4-FFF2-40B4-BE49-F238E27FC236}">
                    <a16:creationId xmlns:a16="http://schemas.microsoft.com/office/drawing/2014/main" id="{39340196-E1AA-4B49-976A-BF366BB2B662}"/>
                  </a:ext>
                </a:extLst>
              </p:cNvPr>
              <p:cNvSpPr/>
              <p:nvPr/>
            </p:nvSpPr>
            <p:spPr bwMode="auto">
              <a:xfrm>
                <a:off x="1326000" y="5256022"/>
                <a:ext cx="2108063" cy="5573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r>
                  <a:rPr lang="en-US" altLang="zh-CN" sz="1100" dirty="0"/>
                  <a:t>Copy paste fonts. Choose the only option to retain text.</a:t>
                </a:r>
              </a:p>
            </p:txBody>
          </p:sp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4D5C24C6-4DD0-4193-AD42-019C1134797B}"/>
                  </a:ext>
                </a:extLst>
              </p:cNvPr>
              <p:cNvSpPr txBox="1"/>
              <p:nvPr/>
            </p:nvSpPr>
            <p:spPr bwMode="auto">
              <a:xfrm>
                <a:off x="1326000" y="4868424"/>
                <a:ext cx="2108063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90000" tIns="46800" rIns="90000" bIns="46800" anchor="b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altLang="zh-CN" b="1" dirty="0"/>
                  <a:t>…</a:t>
                </a:r>
                <a:r>
                  <a:rPr lang="zh-CN" altLang="en-US" b="1" dirty="0"/>
                  <a:t>进度</a:t>
                </a:r>
                <a:endParaRPr lang="en-US" altLang="zh-CN" b="1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267311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2EB5DCF-2A73-4B63-AF43-90EF596F49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完成情况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C3680C8-2ACB-4493-BEDB-023C144B69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FBD8BAB-9CD2-4C9F-AFAB-14F51F52BE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D2973D1-3E9A-4E0B-9B0A-8A5251599DE4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142932"/>
            <a:ext cx="10857350" cy="4854400"/>
            <a:chOff x="673100" y="1142932"/>
            <a:chExt cx="10857350" cy="4854400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6EF589EC-CE20-463F-8FB9-D60CF577669A}"/>
                </a:ext>
              </a:extLst>
            </p:cNvPr>
            <p:cNvSpPr/>
            <p:nvPr/>
          </p:nvSpPr>
          <p:spPr>
            <a:xfrm rot="18900000">
              <a:off x="5492611" y="1530738"/>
              <a:ext cx="1309121" cy="13091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12700">
              <a:miter lim="400000"/>
            </a:ln>
          </p:spPr>
          <p:txBody>
            <a:bodyPr lIns="121919" tIns="121919" rIns="121919" bIns="121919" anchor="ctr"/>
            <a:lstStyle/>
            <a:p>
              <a:pPr defTabSz="457148"/>
              <a:endParaRPr sz="11600">
                <a:solidFill>
                  <a:srgbClr val="77716C"/>
                </a:solidFill>
              </a:endParaRPr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D9072A50-2598-48C1-AF68-F88E923E570D}"/>
                </a:ext>
              </a:extLst>
            </p:cNvPr>
            <p:cNvSpPr/>
            <p:nvPr/>
          </p:nvSpPr>
          <p:spPr>
            <a:xfrm rot="18900000">
              <a:off x="6820029" y="2855971"/>
              <a:ext cx="1309121" cy="13091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12700">
              <a:miter lim="400000"/>
            </a:ln>
          </p:spPr>
          <p:txBody>
            <a:bodyPr lIns="121919" tIns="121919" rIns="121919" bIns="121919" anchor="ctr"/>
            <a:lstStyle/>
            <a:p>
              <a:pPr defTabSz="457148"/>
              <a:endParaRPr sz="11600">
                <a:solidFill>
                  <a:srgbClr val="77716C"/>
                </a:solidFill>
              </a:endParaRPr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919F7E88-A468-4E76-B523-507D689F5D04}"/>
                </a:ext>
              </a:extLst>
            </p:cNvPr>
            <p:cNvSpPr/>
            <p:nvPr/>
          </p:nvSpPr>
          <p:spPr>
            <a:xfrm rot="18900000">
              <a:off x="6346320" y="2375014"/>
              <a:ext cx="923985" cy="9491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2960" y="2851"/>
                    <a:pt x="4637" y="6730"/>
                    <a:pt x="4660" y="10784"/>
                  </a:cubicBezTo>
                  <a:cubicBezTo>
                    <a:pt x="4684" y="14829"/>
                    <a:pt x="3060" y="18718"/>
                    <a:pt x="144" y="21600"/>
                  </a:cubicBezTo>
                  <a:lnTo>
                    <a:pt x="21358" y="21288"/>
                  </a:lnTo>
                  <a:cubicBezTo>
                    <a:pt x="18644" y="18590"/>
                    <a:pt x="17078" y="14994"/>
                    <a:pt x="16974" y="11219"/>
                  </a:cubicBezTo>
                  <a:cubicBezTo>
                    <a:pt x="16858" y="7040"/>
                    <a:pt x="18534" y="3002"/>
                    <a:pt x="21600" y="7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12700">
              <a:miter lim="400000"/>
            </a:ln>
          </p:spPr>
          <p:txBody>
            <a:bodyPr lIns="121919" tIns="121919" rIns="121919" bIns="121919" anchor="ctr"/>
            <a:lstStyle/>
            <a:p>
              <a:pPr defTabSz="457148"/>
              <a:endParaRPr sz="11600">
                <a:solidFill>
                  <a:srgbClr val="77716C"/>
                </a:solidFill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95856295-B6E8-4C32-9678-076674471046}"/>
                </a:ext>
              </a:extLst>
            </p:cNvPr>
            <p:cNvSpPr/>
            <p:nvPr/>
          </p:nvSpPr>
          <p:spPr>
            <a:xfrm rot="18900000">
              <a:off x="5398431" y="2943435"/>
              <a:ext cx="1309121" cy="13091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lIns="121919" tIns="121919" rIns="121919" bIns="121919" anchor="ctr"/>
            <a:lstStyle/>
            <a:p>
              <a:pPr lvl="0" algn="l" defTabSz="457148">
                <a:defRPr sz="11600">
                  <a:solidFill>
                    <a:srgbClr val="77716C"/>
                  </a:solidFill>
                </a:defRPr>
              </a:pPr>
              <a:endParaRPr dirty="0"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B5DED55F-A332-4981-BB93-BE1FBD914EB2}"/>
                </a:ext>
              </a:extLst>
            </p:cNvPr>
            <p:cNvSpPr/>
            <p:nvPr/>
          </p:nvSpPr>
          <p:spPr>
            <a:xfrm rot="18900000">
              <a:off x="6725848" y="4268668"/>
              <a:ext cx="1309121" cy="13091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lIns="121919" tIns="121919" rIns="121919" bIns="121919" anchor="ctr"/>
            <a:lstStyle/>
            <a:p>
              <a:pPr lvl="0" algn="l" defTabSz="457148">
                <a:defRPr sz="11600">
                  <a:solidFill>
                    <a:srgbClr val="77716C"/>
                  </a:solidFill>
                </a:defRPr>
              </a:pPr>
              <a:endParaRPr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818AEA7C-AAAD-4043-AEC8-05FA69D171B9}"/>
                </a:ext>
              </a:extLst>
            </p:cNvPr>
            <p:cNvSpPr/>
            <p:nvPr/>
          </p:nvSpPr>
          <p:spPr>
            <a:xfrm rot="18900000">
              <a:off x="6252139" y="3787711"/>
              <a:ext cx="923984" cy="9491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2960" y="2851"/>
                    <a:pt x="4637" y="6730"/>
                    <a:pt x="4660" y="10784"/>
                  </a:cubicBezTo>
                  <a:cubicBezTo>
                    <a:pt x="4684" y="14829"/>
                    <a:pt x="3060" y="18718"/>
                    <a:pt x="144" y="21600"/>
                  </a:cubicBezTo>
                  <a:lnTo>
                    <a:pt x="21358" y="21288"/>
                  </a:lnTo>
                  <a:cubicBezTo>
                    <a:pt x="18644" y="18590"/>
                    <a:pt x="17078" y="14994"/>
                    <a:pt x="16974" y="11219"/>
                  </a:cubicBezTo>
                  <a:cubicBezTo>
                    <a:pt x="16858" y="7040"/>
                    <a:pt x="18534" y="3002"/>
                    <a:pt x="21600" y="7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>
              <a:miter lim="400000"/>
            </a:ln>
          </p:spPr>
          <p:txBody>
            <a:bodyPr lIns="121919" tIns="121919" rIns="121919" bIns="121919" anchor="ctr"/>
            <a:lstStyle/>
            <a:p>
              <a:pPr lvl="0" algn="l" defTabSz="457148">
                <a:defRPr sz="8400">
                  <a:solidFill>
                    <a:srgbClr val="070707"/>
                  </a:solidFill>
                </a:defRPr>
              </a:pPr>
              <a:endParaRPr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C068204A-D2B4-42FF-9F02-0B05DF8A41E0}"/>
                </a:ext>
              </a:extLst>
            </p:cNvPr>
            <p:cNvSpPr/>
            <p:nvPr/>
          </p:nvSpPr>
          <p:spPr>
            <a:xfrm rot="18900000">
              <a:off x="3981854" y="3025173"/>
              <a:ext cx="1309121" cy="13091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12700">
              <a:miter lim="400000"/>
            </a:ln>
          </p:spPr>
          <p:txBody>
            <a:bodyPr lIns="121919" tIns="121919" rIns="121919" bIns="121919" anchor="ctr"/>
            <a:lstStyle/>
            <a:p>
              <a:pPr lvl="0" algn="l" defTabSz="457148">
                <a:defRPr sz="11600">
                  <a:solidFill>
                    <a:srgbClr val="77716C"/>
                  </a:solidFill>
                </a:defRPr>
              </a:pPr>
              <a:endParaRPr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45E176F9-DC9B-4284-80F8-EF34CD22B51D}"/>
                </a:ext>
              </a:extLst>
            </p:cNvPr>
            <p:cNvSpPr/>
            <p:nvPr/>
          </p:nvSpPr>
          <p:spPr>
            <a:xfrm rot="18900000">
              <a:off x="5309272" y="4350407"/>
              <a:ext cx="1309121" cy="130912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12700">
              <a:miter lim="400000"/>
            </a:ln>
          </p:spPr>
          <p:txBody>
            <a:bodyPr lIns="121919" tIns="121919" rIns="121919" bIns="121919" anchor="ctr"/>
            <a:lstStyle/>
            <a:p>
              <a:pPr lvl="0" algn="l" defTabSz="457148">
                <a:defRPr sz="11600">
                  <a:solidFill>
                    <a:srgbClr val="77716C"/>
                  </a:solidFill>
                </a:defRPr>
              </a:pPr>
              <a:endParaRPr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C8AF05FF-2103-4072-A115-8F3A84781588}"/>
                </a:ext>
              </a:extLst>
            </p:cNvPr>
            <p:cNvSpPr/>
            <p:nvPr/>
          </p:nvSpPr>
          <p:spPr>
            <a:xfrm rot="18900000">
              <a:off x="4835563" y="3869450"/>
              <a:ext cx="923984" cy="9491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cubicBezTo>
                    <a:pt x="2960" y="2851"/>
                    <a:pt x="4637" y="6730"/>
                    <a:pt x="4660" y="10784"/>
                  </a:cubicBezTo>
                  <a:cubicBezTo>
                    <a:pt x="4684" y="14829"/>
                    <a:pt x="3060" y="18718"/>
                    <a:pt x="144" y="21600"/>
                  </a:cubicBezTo>
                  <a:lnTo>
                    <a:pt x="21358" y="21288"/>
                  </a:lnTo>
                  <a:cubicBezTo>
                    <a:pt x="18644" y="18590"/>
                    <a:pt x="17078" y="14994"/>
                    <a:pt x="16974" y="11219"/>
                  </a:cubicBezTo>
                  <a:cubicBezTo>
                    <a:pt x="16858" y="7040"/>
                    <a:pt x="18534" y="3002"/>
                    <a:pt x="21600" y="7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12700">
              <a:miter lim="400000"/>
            </a:ln>
          </p:spPr>
          <p:txBody>
            <a:bodyPr lIns="121919" tIns="121919" rIns="121919" bIns="121919" anchor="ctr"/>
            <a:lstStyle/>
            <a:p>
              <a:pPr lvl="0" algn="l" defTabSz="457148">
                <a:defRPr sz="8400">
                  <a:solidFill>
                    <a:srgbClr val="070707"/>
                  </a:solidFill>
                </a:defRPr>
              </a:pPr>
              <a:endParaRPr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E7C4FCE5-FE33-4013-BC3F-C4708EAE5561}"/>
                </a:ext>
              </a:extLst>
            </p:cNvPr>
            <p:cNvSpPr/>
            <p:nvPr/>
          </p:nvSpPr>
          <p:spPr bwMode="auto">
            <a:xfrm>
              <a:off x="7222816" y="3261823"/>
              <a:ext cx="522451" cy="503142"/>
            </a:xfrm>
            <a:custGeom>
              <a:avLst/>
              <a:gdLst>
                <a:gd name="connsiteX0" fmla="*/ 216243 w 609050"/>
                <a:gd name="connsiteY0" fmla="*/ 412730 h 586540"/>
                <a:gd name="connsiteX1" fmla="*/ 216243 w 609050"/>
                <a:gd name="connsiteY1" fmla="*/ 456594 h 586540"/>
                <a:gd name="connsiteX2" fmla="*/ 293953 w 609050"/>
                <a:gd name="connsiteY2" fmla="*/ 456594 h 586540"/>
                <a:gd name="connsiteX3" fmla="*/ 293953 w 609050"/>
                <a:gd name="connsiteY3" fmla="*/ 412730 h 586540"/>
                <a:gd name="connsiteX4" fmla="*/ 69884 w 609050"/>
                <a:gd name="connsiteY4" fmla="*/ 412730 h 586540"/>
                <a:gd name="connsiteX5" fmla="*/ 69884 w 609050"/>
                <a:gd name="connsiteY5" fmla="*/ 456594 h 586540"/>
                <a:gd name="connsiteX6" fmla="*/ 147595 w 609050"/>
                <a:gd name="connsiteY6" fmla="*/ 456594 h 586540"/>
                <a:gd name="connsiteX7" fmla="*/ 147595 w 609050"/>
                <a:gd name="connsiteY7" fmla="*/ 412730 h 586540"/>
                <a:gd name="connsiteX8" fmla="*/ 460769 w 609050"/>
                <a:gd name="connsiteY8" fmla="*/ 376268 h 586540"/>
                <a:gd name="connsiteX9" fmla="*/ 460769 w 609050"/>
                <a:gd name="connsiteY9" fmla="*/ 414786 h 586540"/>
                <a:gd name="connsiteX10" fmla="*/ 555916 w 609050"/>
                <a:gd name="connsiteY10" fmla="*/ 414786 h 586540"/>
                <a:gd name="connsiteX11" fmla="*/ 555916 w 609050"/>
                <a:gd name="connsiteY11" fmla="*/ 376268 h 586540"/>
                <a:gd name="connsiteX12" fmla="*/ 216243 w 609050"/>
                <a:gd name="connsiteY12" fmla="*/ 339670 h 586540"/>
                <a:gd name="connsiteX13" fmla="*/ 216243 w 609050"/>
                <a:gd name="connsiteY13" fmla="*/ 383533 h 586540"/>
                <a:gd name="connsiteX14" fmla="*/ 293953 w 609050"/>
                <a:gd name="connsiteY14" fmla="*/ 383533 h 586540"/>
                <a:gd name="connsiteX15" fmla="*/ 293953 w 609050"/>
                <a:gd name="connsiteY15" fmla="*/ 339670 h 586540"/>
                <a:gd name="connsiteX16" fmla="*/ 69884 w 609050"/>
                <a:gd name="connsiteY16" fmla="*/ 339670 h 586540"/>
                <a:gd name="connsiteX17" fmla="*/ 69884 w 609050"/>
                <a:gd name="connsiteY17" fmla="*/ 383533 h 586540"/>
                <a:gd name="connsiteX18" fmla="*/ 147595 w 609050"/>
                <a:gd name="connsiteY18" fmla="*/ 383533 h 586540"/>
                <a:gd name="connsiteX19" fmla="*/ 147595 w 609050"/>
                <a:gd name="connsiteY19" fmla="*/ 339670 h 586540"/>
                <a:gd name="connsiteX20" fmla="*/ 460769 w 609050"/>
                <a:gd name="connsiteY20" fmla="*/ 303071 h 586540"/>
                <a:gd name="connsiteX21" fmla="*/ 460769 w 609050"/>
                <a:gd name="connsiteY21" fmla="*/ 341726 h 586540"/>
                <a:gd name="connsiteX22" fmla="*/ 555916 w 609050"/>
                <a:gd name="connsiteY22" fmla="*/ 341726 h 586540"/>
                <a:gd name="connsiteX23" fmla="*/ 555916 w 609050"/>
                <a:gd name="connsiteY23" fmla="*/ 303071 h 586540"/>
                <a:gd name="connsiteX24" fmla="*/ 216243 w 609050"/>
                <a:gd name="connsiteY24" fmla="*/ 266609 h 586540"/>
                <a:gd name="connsiteX25" fmla="*/ 216243 w 609050"/>
                <a:gd name="connsiteY25" fmla="*/ 310473 h 586540"/>
                <a:gd name="connsiteX26" fmla="*/ 293953 w 609050"/>
                <a:gd name="connsiteY26" fmla="*/ 310473 h 586540"/>
                <a:gd name="connsiteX27" fmla="*/ 293953 w 609050"/>
                <a:gd name="connsiteY27" fmla="*/ 266609 h 586540"/>
                <a:gd name="connsiteX28" fmla="*/ 69884 w 609050"/>
                <a:gd name="connsiteY28" fmla="*/ 266609 h 586540"/>
                <a:gd name="connsiteX29" fmla="*/ 69884 w 609050"/>
                <a:gd name="connsiteY29" fmla="*/ 310473 h 586540"/>
                <a:gd name="connsiteX30" fmla="*/ 147595 w 609050"/>
                <a:gd name="connsiteY30" fmla="*/ 310473 h 586540"/>
                <a:gd name="connsiteX31" fmla="*/ 147595 w 609050"/>
                <a:gd name="connsiteY31" fmla="*/ 266609 h 586540"/>
                <a:gd name="connsiteX32" fmla="*/ 460769 w 609050"/>
                <a:gd name="connsiteY32" fmla="*/ 230010 h 586540"/>
                <a:gd name="connsiteX33" fmla="*/ 460769 w 609050"/>
                <a:gd name="connsiteY33" fmla="*/ 268528 h 586540"/>
                <a:gd name="connsiteX34" fmla="*/ 555916 w 609050"/>
                <a:gd name="connsiteY34" fmla="*/ 268528 h 586540"/>
                <a:gd name="connsiteX35" fmla="*/ 555916 w 609050"/>
                <a:gd name="connsiteY35" fmla="*/ 230010 h 586540"/>
                <a:gd name="connsiteX36" fmla="*/ 216243 w 609050"/>
                <a:gd name="connsiteY36" fmla="*/ 193549 h 586540"/>
                <a:gd name="connsiteX37" fmla="*/ 216243 w 609050"/>
                <a:gd name="connsiteY37" fmla="*/ 237412 h 586540"/>
                <a:gd name="connsiteX38" fmla="*/ 293953 w 609050"/>
                <a:gd name="connsiteY38" fmla="*/ 237412 h 586540"/>
                <a:gd name="connsiteX39" fmla="*/ 293953 w 609050"/>
                <a:gd name="connsiteY39" fmla="*/ 193549 h 586540"/>
                <a:gd name="connsiteX40" fmla="*/ 69884 w 609050"/>
                <a:gd name="connsiteY40" fmla="*/ 193549 h 586540"/>
                <a:gd name="connsiteX41" fmla="*/ 69884 w 609050"/>
                <a:gd name="connsiteY41" fmla="*/ 237412 h 586540"/>
                <a:gd name="connsiteX42" fmla="*/ 147595 w 609050"/>
                <a:gd name="connsiteY42" fmla="*/ 237412 h 586540"/>
                <a:gd name="connsiteX43" fmla="*/ 147595 w 609050"/>
                <a:gd name="connsiteY43" fmla="*/ 193549 h 586540"/>
                <a:gd name="connsiteX44" fmla="*/ 460769 w 609050"/>
                <a:gd name="connsiteY44" fmla="*/ 156950 h 586540"/>
                <a:gd name="connsiteX45" fmla="*/ 460769 w 609050"/>
                <a:gd name="connsiteY45" fmla="*/ 195468 h 586540"/>
                <a:gd name="connsiteX46" fmla="*/ 555916 w 609050"/>
                <a:gd name="connsiteY46" fmla="*/ 195468 h 586540"/>
                <a:gd name="connsiteX47" fmla="*/ 555916 w 609050"/>
                <a:gd name="connsiteY47" fmla="*/ 156950 h 586540"/>
                <a:gd name="connsiteX48" fmla="*/ 192926 w 609050"/>
                <a:gd name="connsiteY48" fmla="*/ 96251 h 586540"/>
                <a:gd name="connsiteX49" fmla="*/ 361366 w 609050"/>
                <a:gd name="connsiteY49" fmla="*/ 96251 h 586540"/>
                <a:gd name="connsiteX50" fmla="*/ 361366 w 609050"/>
                <a:gd name="connsiteY50" fmla="*/ 114880 h 586540"/>
                <a:gd name="connsiteX51" fmla="*/ 192926 w 609050"/>
                <a:gd name="connsiteY51" fmla="*/ 114880 h 586540"/>
                <a:gd name="connsiteX52" fmla="*/ 192926 w 609050"/>
                <a:gd name="connsiteY52" fmla="*/ 49819 h 586540"/>
                <a:gd name="connsiteX53" fmla="*/ 361366 w 609050"/>
                <a:gd name="connsiteY53" fmla="*/ 49819 h 586540"/>
                <a:gd name="connsiteX54" fmla="*/ 361366 w 609050"/>
                <a:gd name="connsiteY54" fmla="*/ 68307 h 586540"/>
                <a:gd name="connsiteX55" fmla="*/ 192926 w 609050"/>
                <a:gd name="connsiteY55" fmla="*/ 68307 h 586540"/>
                <a:gd name="connsiteX56" fmla="*/ 166130 w 609050"/>
                <a:gd name="connsiteY56" fmla="*/ 25222 h 586540"/>
                <a:gd name="connsiteX57" fmla="*/ 166130 w 609050"/>
                <a:gd name="connsiteY57" fmla="*/ 155716 h 586540"/>
                <a:gd name="connsiteX58" fmla="*/ 338987 w 609050"/>
                <a:gd name="connsiteY58" fmla="*/ 155716 h 586540"/>
                <a:gd name="connsiteX59" fmla="*/ 338987 w 609050"/>
                <a:gd name="connsiteY59" fmla="*/ 341040 h 586540"/>
                <a:gd name="connsiteX60" fmla="*/ 338987 w 609050"/>
                <a:gd name="connsiteY60" fmla="*/ 531710 h 586540"/>
                <a:gd name="connsiteX61" fmla="*/ 366721 w 609050"/>
                <a:gd name="connsiteY61" fmla="*/ 531710 h 586540"/>
                <a:gd name="connsiteX62" fmla="*/ 366721 w 609050"/>
                <a:gd name="connsiteY62" fmla="*/ 341040 h 586540"/>
                <a:gd name="connsiteX63" fmla="*/ 366721 w 609050"/>
                <a:gd name="connsiteY63" fmla="*/ 155305 h 586540"/>
                <a:gd name="connsiteX64" fmla="*/ 388002 w 609050"/>
                <a:gd name="connsiteY64" fmla="*/ 143517 h 586540"/>
                <a:gd name="connsiteX65" fmla="*/ 388002 w 609050"/>
                <a:gd name="connsiteY65" fmla="*/ 25222 h 586540"/>
                <a:gd name="connsiteX66" fmla="*/ 140867 w 609050"/>
                <a:gd name="connsiteY66" fmla="*/ 0 h 586540"/>
                <a:gd name="connsiteX67" fmla="*/ 413402 w 609050"/>
                <a:gd name="connsiteY67" fmla="*/ 0 h 586540"/>
                <a:gd name="connsiteX68" fmla="*/ 413402 w 609050"/>
                <a:gd name="connsiteY68" fmla="*/ 129398 h 586540"/>
                <a:gd name="connsiteX69" fmla="*/ 432486 w 609050"/>
                <a:gd name="connsiteY69" fmla="*/ 118843 h 586540"/>
                <a:gd name="connsiteX70" fmla="*/ 584199 w 609050"/>
                <a:gd name="connsiteY70" fmla="*/ 118843 h 586540"/>
                <a:gd name="connsiteX71" fmla="*/ 584199 w 609050"/>
                <a:gd name="connsiteY71" fmla="*/ 531710 h 586540"/>
                <a:gd name="connsiteX72" fmla="*/ 609050 w 609050"/>
                <a:gd name="connsiteY72" fmla="*/ 531710 h 586540"/>
                <a:gd name="connsiteX73" fmla="*/ 609050 w 609050"/>
                <a:gd name="connsiteY73" fmla="*/ 586540 h 586540"/>
                <a:gd name="connsiteX74" fmla="*/ 0 w 609050"/>
                <a:gd name="connsiteY74" fmla="*/ 586540 h 586540"/>
                <a:gd name="connsiteX75" fmla="*/ 0 w 609050"/>
                <a:gd name="connsiteY75" fmla="*/ 531710 h 586540"/>
                <a:gd name="connsiteX76" fmla="*/ 24851 w 609050"/>
                <a:gd name="connsiteY76" fmla="*/ 531710 h 586540"/>
                <a:gd name="connsiteX77" fmla="*/ 24851 w 609050"/>
                <a:gd name="connsiteY77" fmla="*/ 155716 h 586540"/>
                <a:gd name="connsiteX78" fmla="*/ 140867 w 609050"/>
                <a:gd name="connsiteY78" fmla="*/ 155716 h 586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09050" h="586540">
                  <a:moveTo>
                    <a:pt x="216243" y="412730"/>
                  </a:moveTo>
                  <a:lnTo>
                    <a:pt x="216243" y="456594"/>
                  </a:lnTo>
                  <a:lnTo>
                    <a:pt x="293953" y="456594"/>
                  </a:lnTo>
                  <a:lnTo>
                    <a:pt x="293953" y="412730"/>
                  </a:lnTo>
                  <a:close/>
                  <a:moveTo>
                    <a:pt x="69884" y="412730"/>
                  </a:moveTo>
                  <a:lnTo>
                    <a:pt x="69884" y="456594"/>
                  </a:lnTo>
                  <a:lnTo>
                    <a:pt x="147595" y="456594"/>
                  </a:lnTo>
                  <a:lnTo>
                    <a:pt x="147595" y="412730"/>
                  </a:lnTo>
                  <a:close/>
                  <a:moveTo>
                    <a:pt x="460769" y="376268"/>
                  </a:moveTo>
                  <a:lnTo>
                    <a:pt x="460769" y="414786"/>
                  </a:lnTo>
                  <a:lnTo>
                    <a:pt x="555916" y="414786"/>
                  </a:lnTo>
                  <a:lnTo>
                    <a:pt x="555916" y="376268"/>
                  </a:lnTo>
                  <a:close/>
                  <a:moveTo>
                    <a:pt x="216243" y="339670"/>
                  </a:moveTo>
                  <a:lnTo>
                    <a:pt x="216243" y="383533"/>
                  </a:lnTo>
                  <a:lnTo>
                    <a:pt x="293953" y="383533"/>
                  </a:lnTo>
                  <a:lnTo>
                    <a:pt x="293953" y="339670"/>
                  </a:lnTo>
                  <a:close/>
                  <a:moveTo>
                    <a:pt x="69884" y="339670"/>
                  </a:moveTo>
                  <a:lnTo>
                    <a:pt x="69884" y="383533"/>
                  </a:lnTo>
                  <a:lnTo>
                    <a:pt x="147595" y="383533"/>
                  </a:lnTo>
                  <a:lnTo>
                    <a:pt x="147595" y="339670"/>
                  </a:lnTo>
                  <a:close/>
                  <a:moveTo>
                    <a:pt x="460769" y="303071"/>
                  </a:moveTo>
                  <a:lnTo>
                    <a:pt x="460769" y="341726"/>
                  </a:lnTo>
                  <a:lnTo>
                    <a:pt x="555916" y="341726"/>
                  </a:lnTo>
                  <a:lnTo>
                    <a:pt x="555916" y="303071"/>
                  </a:lnTo>
                  <a:close/>
                  <a:moveTo>
                    <a:pt x="216243" y="266609"/>
                  </a:moveTo>
                  <a:lnTo>
                    <a:pt x="216243" y="310473"/>
                  </a:lnTo>
                  <a:lnTo>
                    <a:pt x="293953" y="310473"/>
                  </a:lnTo>
                  <a:lnTo>
                    <a:pt x="293953" y="266609"/>
                  </a:lnTo>
                  <a:close/>
                  <a:moveTo>
                    <a:pt x="69884" y="266609"/>
                  </a:moveTo>
                  <a:lnTo>
                    <a:pt x="69884" y="310473"/>
                  </a:lnTo>
                  <a:lnTo>
                    <a:pt x="147595" y="310473"/>
                  </a:lnTo>
                  <a:lnTo>
                    <a:pt x="147595" y="266609"/>
                  </a:lnTo>
                  <a:close/>
                  <a:moveTo>
                    <a:pt x="460769" y="230010"/>
                  </a:moveTo>
                  <a:lnTo>
                    <a:pt x="460769" y="268528"/>
                  </a:lnTo>
                  <a:lnTo>
                    <a:pt x="555916" y="268528"/>
                  </a:lnTo>
                  <a:lnTo>
                    <a:pt x="555916" y="230010"/>
                  </a:lnTo>
                  <a:close/>
                  <a:moveTo>
                    <a:pt x="216243" y="193549"/>
                  </a:moveTo>
                  <a:lnTo>
                    <a:pt x="216243" y="237412"/>
                  </a:lnTo>
                  <a:lnTo>
                    <a:pt x="293953" y="237412"/>
                  </a:lnTo>
                  <a:lnTo>
                    <a:pt x="293953" y="193549"/>
                  </a:lnTo>
                  <a:close/>
                  <a:moveTo>
                    <a:pt x="69884" y="193549"/>
                  </a:moveTo>
                  <a:lnTo>
                    <a:pt x="69884" y="237412"/>
                  </a:lnTo>
                  <a:lnTo>
                    <a:pt x="147595" y="237412"/>
                  </a:lnTo>
                  <a:lnTo>
                    <a:pt x="147595" y="193549"/>
                  </a:lnTo>
                  <a:close/>
                  <a:moveTo>
                    <a:pt x="460769" y="156950"/>
                  </a:moveTo>
                  <a:lnTo>
                    <a:pt x="460769" y="195468"/>
                  </a:lnTo>
                  <a:lnTo>
                    <a:pt x="555916" y="195468"/>
                  </a:lnTo>
                  <a:lnTo>
                    <a:pt x="555916" y="156950"/>
                  </a:lnTo>
                  <a:close/>
                  <a:moveTo>
                    <a:pt x="192926" y="96251"/>
                  </a:moveTo>
                  <a:lnTo>
                    <a:pt x="361366" y="96251"/>
                  </a:lnTo>
                  <a:lnTo>
                    <a:pt x="361366" y="114880"/>
                  </a:lnTo>
                  <a:lnTo>
                    <a:pt x="192926" y="114880"/>
                  </a:lnTo>
                  <a:close/>
                  <a:moveTo>
                    <a:pt x="192926" y="49819"/>
                  </a:moveTo>
                  <a:lnTo>
                    <a:pt x="361366" y="49819"/>
                  </a:lnTo>
                  <a:lnTo>
                    <a:pt x="361366" y="68307"/>
                  </a:lnTo>
                  <a:lnTo>
                    <a:pt x="192926" y="68307"/>
                  </a:lnTo>
                  <a:close/>
                  <a:moveTo>
                    <a:pt x="166130" y="25222"/>
                  </a:moveTo>
                  <a:lnTo>
                    <a:pt x="166130" y="155716"/>
                  </a:lnTo>
                  <a:lnTo>
                    <a:pt x="338987" y="155716"/>
                  </a:lnTo>
                  <a:lnTo>
                    <a:pt x="338987" y="341040"/>
                  </a:lnTo>
                  <a:lnTo>
                    <a:pt x="338987" y="531710"/>
                  </a:lnTo>
                  <a:lnTo>
                    <a:pt x="366721" y="531710"/>
                  </a:lnTo>
                  <a:lnTo>
                    <a:pt x="366721" y="341040"/>
                  </a:lnTo>
                  <a:lnTo>
                    <a:pt x="366721" y="155305"/>
                  </a:lnTo>
                  <a:lnTo>
                    <a:pt x="388002" y="143517"/>
                  </a:lnTo>
                  <a:lnTo>
                    <a:pt x="388002" y="25222"/>
                  </a:lnTo>
                  <a:close/>
                  <a:moveTo>
                    <a:pt x="140867" y="0"/>
                  </a:moveTo>
                  <a:lnTo>
                    <a:pt x="413402" y="0"/>
                  </a:lnTo>
                  <a:lnTo>
                    <a:pt x="413402" y="129398"/>
                  </a:lnTo>
                  <a:lnTo>
                    <a:pt x="432486" y="118843"/>
                  </a:lnTo>
                  <a:lnTo>
                    <a:pt x="584199" y="118843"/>
                  </a:lnTo>
                  <a:lnTo>
                    <a:pt x="584199" y="531710"/>
                  </a:lnTo>
                  <a:lnTo>
                    <a:pt x="609050" y="531710"/>
                  </a:lnTo>
                  <a:lnTo>
                    <a:pt x="609050" y="586540"/>
                  </a:lnTo>
                  <a:lnTo>
                    <a:pt x="0" y="586540"/>
                  </a:lnTo>
                  <a:lnTo>
                    <a:pt x="0" y="531710"/>
                  </a:lnTo>
                  <a:lnTo>
                    <a:pt x="24851" y="531710"/>
                  </a:lnTo>
                  <a:lnTo>
                    <a:pt x="24851" y="155716"/>
                  </a:lnTo>
                  <a:lnTo>
                    <a:pt x="140867" y="15571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AC0C87CF-319D-4248-9F8D-33A45486B643}"/>
                </a:ext>
              </a:extLst>
            </p:cNvPr>
            <p:cNvSpPr/>
            <p:nvPr/>
          </p:nvSpPr>
          <p:spPr bwMode="auto">
            <a:xfrm>
              <a:off x="5910949" y="1961292"/>
              <a:ext cx="460986" cy="443948"/>
            </a:xfrm>
            <a:custGeom>
              <a:avLst/>
              <a:gdLst>
                <a:gd name="connsiteX0" fmla="*/ 216243 w 609050"/>
                <a:gd name="connsiteY0" fmla="*/ 412730 h 586540"/>
                <a:gd name="connsiteX1" fmla="*/ 216243 w 609050"/>
                <a:gd name="connsiteY1" fmla="*/ 456594 h 586540"/>
                <a:gd name="connsiteX2" fmla="*/ 293953 w 609050"/>
                <a:gd name="connsiteY2" fmla="*/ 456594 h 586540"/>
                <a:gd name="connsiteX3" fmla="*/ 293953 w 609050"/>
                <a:gd name="connsiteY3" fmla="*/ 412730 h 586540"/>
                <a:gd name="connsiteX4" fmla="*/ 69884 w 609050"/>
                <a:gd name="connsiteY4" fmla="*/ 412730 h 586540"/>
                <a:gd name="connsiteX5" fmla="*/ 69884 w 609050"/>
                <a:gd name="connsiteY5" fmla="*/ 456594 h 586540"/>
                <a:gd name="connsiteX6" fmla="*/ 147595 w 609050"/>
                <a:gd name="connsiteY6" fmla="*/ 456594 h 586540"/>
                <a:gd name="connsiteX7" fmla="*/ 147595 w 609050"/>
                <a:gd name="connsiteY7" fmla="*/ 412730 h 586540"/>
                <a:gd name="connsiteX8" fmla="*/ 460769 w 609050"/>
                <a:gd name="connsiteY8" fmla="*/ 376268 h 586540"/>
                <a:gd name="connsiteX9" fmla="*/ 460769 w 609050"/>
                <a:gd name="connsiteY9" fmla="*/ 414786 h 586540"/>
                <a:gd name="connsiteX10" fmla="*/ 555916 w 609050"/>
                <a:gd name="connsiteY10" fmla="*/ 414786 h 586540"/>
                <a:gd name="connsiteX11" fmla="*/ 555916 w 609050"/>
                <a:gd name="connsiteY11" fmla="*/ 376268 h 586540"/>
                <a:gd name="connsiteX12" fmla="*/ 216243 w 609050"/>
                <a:gd name="connsiteY12" fmla="*/ 339670 h 586540"/>
                <a:gd name="connsiteX13" fmla="*/ 216243 w 609050"/>
                <a:gd name="connsiteY13" fmla="*/ 383533 h 586540"/>
                <a:gd name="connsiteX14" fmla="*/ 293953 w 609050"/>
                <a:gd name="connsiteY14" fmla="*/ 383533 h 586540"/>
                <a:gd name="connsiteX15" fmla="*/ 293953 w 609050"/>
                <a:gd name="connsiteY15" fmla="*/ 339670 h 586540"/>
                <a:gd name="connsiteX16" fmla="*/ 69884 w 609050"/>
                <a:gd name="connsiteY16" fmla="*/ 339670 h 586540"/>
                <a:gd name="connsiteX17" fmla="*/ 69884 w 609050"/>
                <a:gd name="connsiteY17" fmla="*/ 383533 h 586540"/>
                <a:gd name="connsiteX18" fmla="*/ 147595 w 609050"/>
                <a:gd name="connsiteY18" fmla="*/ 383533 h 586540"/>
                <a:gd name="connsiteX19" fmla="*/ 147595 w 609050"/>
                <a:gd name="connsiteY19" fmla="*/ 339670 h 586540"/>
                <a:gd name="connsiteX20" fmla="*/ 460769 w 609050"/>
                <a:gd name="connsiteY20" fmla="*/ 303071 h 586540"/>
                <a:gd name="connsiteX21" fmla="*/ 460769 w 609050"/>
                <a:gd name="connsiteY21" fmla="*/ 341726 h 586540"/>
                <a:gd name="connsiteX22" fmla="*/ 555916 w 609050"/>
                <a:gd name="connsiteY22" fmla="*/ 341726 h 586540"/>
                <a:gd name="connsiteX23" fmla="*/ 555916 w 609050"/>
                <a:gd name="connsiteY23" fmla="*/ 303071 h 586540"/>
                <a:gd name="connsiteX24" fmla="*/ 216243 w 609050"/>
                <a:gd name="connsiteY24" fmla="*/ 266609 h 586540"/>
                <a:gd name="connsiteX25" fmla="*/ 216243 w 609050"/>
                <a:gd name="connsiteY25" fmla="*/ 310473 h 586540"/>
                <a:gd name="connsiteX26" fmla="*/ 293953 w 609050"/>
                <a:gd name="connsiteY26" fmla="*/ 310473 h 586540"/>
                <a:gd name="connsiteX27" fmla="*/ 293953 w 609050"/>
                <a:gd name="connsiteY27" fmla="*/ 266609 h 586540"/>
                <a:gd name="connsiteX28" fmla="*/ 69884 w 609050"/>
                <a:gd name="connsiteY28" fmla="*/ 266609 h 586540"/>
                <a:gd name="connsiteX29" fmla="*/ 69884 w 609050"/>
                <a:gd name="connsiteY29" fmla="*/ 310473 h 586540"/>
                <a:gd name="connsiteX30" fmla="*/ 147595 w 609050"/>
                <a:gd name="connsiteY30" fmla="*/ 310473 h 586540"/>
                <a:gd name="connsiteX31" fmla="*/ 147595 w 609050"/>
                <a:gd name="connsiteY31" fmla="*/ 266609 h 586540"/>
                <a:gd name="connsiteX32" fmla="*/ 460769 w 609050"/>
                <a:gd name="connsiteY32" fmla="*/ 230010 h 586540"/>
                <a:gd name="connsiteX33" fmla="*/ 460769 w 609050"/>
                <a:gd name="connsiteY33" fmla="*/ 268528 h 586540"/>
                <a:gd name="connsiteX34" fmla="*/ 555916 w 609050"/>
                <a:gd name="connsiteY34" fmla="*/ 268528 h 586540"/>
                <a:gd name="connsiteX35" fmla="*/ 555916 w 609050"/>
                <a:gd name="connsiteY35" fmla="*/ 230010 h 586540"/>
                <a:gd name="connsiteX36" fmla="*/ 216243 w 609050"/>
                <a:gd name="connsiteY36" fmla="*/ 193549 h 586540"/>
                <a:gd name="connsiteX37" fmla="*/ 216243 w 609050"/>
                <a:gd name="connsiteY37" fmla="*/ 237412 h 586540"/>
                <a:gd name="connsiteX38" fmla="*/ 293953 w 609050"/>
                <a:gd name="connsiteY38" fmla="*/ 237412 h 586540"/>
                <a:gd name="connsiteX39" fmla="*/ 293953 w 609050"/>
                <a:gd name="connsiteY39" fmla="*/ 193549 h 586540"/>
                <a:gd name="connsiteX40" fmla="*/ 69884 w 609050"/>
                <a:gd name="connsiteY40" fmla="*/ 193549 h 586540"/>
                <a:gd name="connsiteX41" fmla="*/ 69884 w 609050"/>
                <a:gd name="connsiteY41" fmla="*/ 237412 h 586540"/>
                <a:gd name="connsiteX42" fmla="*/ 147595 w 609050"/>
                <a:gd name="connsiteY42" fmla="*/ 237412 h 586540"/>
                <a:gd name="connsiteX43" fmla="*/ 147595 w 609050"/>
                <a:gd name="connsiteY43" fmla="*/ 193549 h 586540"/>
                <a:gd name="connsiteX44" fmla="*/ 460769 w 609050"/>
                <a:gd name="connsiteY44" fmla="*/ 156950 h 586540"/>
                <a:gd name="connsiteX45" fmla="*/ 460769 w 609050"/>
                <a:gd name="connsiteY45" fmla="*/ 195468 h 586540"/>
                <a:gd name="connsiteX46" fmla="*/ 555916 w 609050"/>
                <a:gd name="connsiteY46" fmla="*/ 195468 h 586540"/>
                <a:gd name="connsiteX47" fmla="*/ 555916 w 609050"/>
                <a:gd name="connsiteY47" fmla="*/ 156950 h 586540"/>
                <a:gd name="connsiteX48" fmla="*/ 192926 w 609050"/>
                <a:gd name="connsiteY48" fmla="*/ 96251 h 586540"/>
                <a:gd name="connsiteX49" fmla="*/ 361366 w 609050"/>
                <a:gd name="connsiteY49" fmla="*/ 96251 h 586540"/>
                <a:gd name="connsiteX50" fmla="*/ 361366 w 609050"/>
                <a:gd name="connsiteY50" fmla="*/ 114880 h 586540"/>
                <a:gd name="connsiteX51" fmla="*/ 192926 w 609050"/>
                <a:gd name="connsiteY51" fmla="*/ 114880 h 586540"/>
                <a:gd name="connsiteX52" fmla="*/ 192926 w 609050"/>
                <a:gd name="connsiteY52" fmla="*/ 49819 h 586540"/>
                <a:gd name="connsiteX53" fmla="*/ 361366 w 609050"/>
                <a:gd name="connsiteY53" fmla="*/ 49819 h 586540"/>
                <a:gd name="connsiteX54" fmla="*/ 361366 w 609050"/>
                <a:gd name="connsiteY54" fmla="*/ 68307 h 586540"/>
                <a:gd name="connsiteX55" fmla="*/ 192926 w 609050"/>
                <a:gd name="connsiteY55" fmla="*/ 68307 h 586540"/>
                <a:gd name="connsiteX56" fmla="*/ 166130 w 609050"/>
                <a:gd name="connsiteY56" fmla="*/ 25222 h 586540"/>
                <a:gd name="connsiteX57" fmla="*/ 166130 w 609050"/>
                <a:gd name="connsiteY57" fmla="*/ 155716 h 586540"/>
                <a:gd name="connsiteX58" fmla="*/ 338987 w 609050"/>
                <a:gd name="connsiteY58" fmla="*/ 155716 h 586540"/>
                <a:gd name="connsiteX59" fmla="*/ 338987 w 609050"/>
                <a:gd name="connsiteY59" fmla="*/ 341040 h 586540"/>
                <a:gd name="connsiteX60" fmla="*/ 338987 w 609050"/>
                <a:gd name="connsiteY60" fmla="*/ 531710 h 586540"/>
                <a:gd name="connsiteX61" fmla="*/ 366721 w 609050"/>
                <a:gd name="connsiteY61" fmla="*/ 531710 h 586540"/>
                <a:gd name="connsiteX62" fmla="*/ 366721 w 609050"/>
                <a:gd name="connsiteY62" fmla="*/ 341040 h 586540"/>
                <a:gd name="connsiteX63" fmla="*/ 366721 w 609050"/>
                <a:gd name="connsiteY63" fmla="*/ 155305 h 586540"/>
                <a:gd name="connsiteX64" fmla="*/ 388002 w 609050"/>
                <a:gd name="connsiteY64" fmla="*/ 143517 h 586540"/>
                <a:gd name="connsiteX65" fmla="*/ 388002 w 609050"/>
                <a:gd name="connsiteY65" fmla="*/ 25222 h 586540"/>
                <a:gd name="connsiteX66" fmla="*/ 140867 w 609050"/>
                <a:gd name="connsiteY66" fmla="*/ 0 h 586540"/>
                <a:gd name="connsiteX67" fmla="*/ 413402 w 609050"/>
                <a:gd name="connsiteY67" fmla="*/ 0 h 586540"/>
                <a:gd name="connsiteX68" fmla="*/ 413402 w 609050"/>
                <a:gd name="connsiteY68" fmla="*/ 129398 h 586540"/>
                <a:gd name="connsiteX69" fmla="*/ 432486 w 609050"/>
                <a:gd name="connsiteY69" fmla="*/ 118843 h 586540"/>
                <a:gd name="connsiteX70" fmla="*/ 584199 w 609050"/>
                <a:gd name="connsiteY70" fmla="*/ 118843 h 586540"/>
                <a:gd name="connsiteX71" fmla="*/ 584199 w 609050"/>
                <a:gd name="connsiteY71" fmla="*/ 531710 h 586540"/>
                <a:gd name="connsiteX72" fmla="*/ 609050 w 609050"/>
                <a:gd name="connsiteY72" fmla="*/ 531710 h 586540"/>
                <a:gd name="connsiteX73" fmla="*/ 609050 w 609050"/>
                <a:gd name="connsiteY73" fmla="*/ 586540 h 586540"/>
                <a:gd name="connsiteX74" fmla="*/ 0 w 609050"/>
                <a:gd name="connsiteY74" fmla="*/ 586540 h 586540"/>
                <a:gd name="connsiteX75" fmla="*/ 0 w 609050"/>
                <a:gd name="connsiteY75" fmla="*/ 531710 h 586540"/>
                <a:gd name="connsiteX76" fmla="*/ 24851 w 609050"/>
                <a:gd name="connsiteY76" fmla="*/ 531710 h 586540"/>
                <a:gd name="connsiteX77" fmla="*/ 24851 w 609050"/>
                <a:gd name="connsiteY77" fmla="*/ 155716 h 586540"/>
                <a:gd name="connsiteX78" fmla="*/ 140867 w 609050"/>
                <a:gd name="connsiteY78" fmla="*/ 155716 h 586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09050" h="586540">
                  <a:moveTo>
                    <a:pt x="216243" y="412730"/>
                  </a:moveTo>
                  <a:lnTo>
                    <a:pt x="216243" y="456594"/>
                  </a:lnTo>
                  <a:lnTo>
                    <a:pt x="293953" y="456594"/>
                  </a:lnTo>
                  <a:lnTo>
                    <a:pt x="293953" y="412730"/>
                  </a:lnTo>
                  <a:close/>
                  <a:moveTo>
                    <a:pt x="69884" y="412730"/>
                  </a:moveTo>
                  <a:lnTo>
                    <a:pt x="69884" y="456594"/>
                  </a:lnTo>
                  <a:lnTo>
                    <a:pt x="147595" y="456594"/>
                  </a:lnTo>
                  <a:lnTo>
                    <a:pt x="147595" y="412730"/>
                  </a:lnTo>
                  <a:close/>
                  <a:moveTo>
                    <a:pt x="460769" y="376268"/>
                  </a:moveTo>
                  <a:lnTo>
                    <a:pt x="460769" y="414786"/>
                  </a:lnTo>
                  <a:lnTo>
                    <a:pt x="555916" y="414786"/>
                  </a:lnTo>
                  <a:lnTo>
                    <a:pt x="555916" y="376268"/>
                  </a:lnTo>
                  <a:close/>
                  <a:moveTo>
                    <a:pt x="216243" y="339670"/>
                  </a:moveTo>
                  <a:lnTo>
                    <a:pt x="216243" y="383533"/>
                  </a:lnTo>
                  <a:lnTo>
                    <a:pt x="293953" y="383533"/>
                  </a:lnTo>
                  <a:lnTo>
                    <a:pt x="293953" y="339670"/>
                  </a:lnTo>
                  <a:close/>
                  <a:moveTo>
                    <a:pt x="69884" y="339670"/>
                  </a:moveTo>
                  <a:lnTo>
                    <a:pt x="69884" y="383533"/>
                  </a:lnTo>
                  <a:lnTo>
                    <a:pt x="147595" y="383533"/>
                  </a:lnTo>
                  <a:lnTo>
                    <a:pt x="147595" y="339670"/>
                  </a:lnTo>
                  <a:close/>
                  <a:moveTo>
                    <a:pt x="460769" y="303071"/>
                  </a:moveTo>
                  <a:lnTo>
                    <a:pt x="460769" y="341726"/>
                  </a:lnTo>
                  <a:lnTo>
                    <a:pt x="555916" y="341726"/>
                  </a:lnTo>
                  <a:lnTo>
                    <a:pt x="555916" y="303071"/>
                  </a:lnTo>
                  <a:close/>
                  <a:moveTo>
                    <a:pt x="216243" y="266609"/>
                  </a:moveTo>
                  <a:lnTo>
                    <a:pt x="216243" y="310473"/>
                  </a:lnTo>
                  <a:lnTo>
                    <a:pt x="293953" y="310473"/>
                  </a:lnTo>
                  <a:lnTo>
                    <a:pt x="293953" y="266609"/>
                  </a:lnTo>
                  <a:close/>
                  <a:moveTo>
                    <a:pt x="69884" y="266609"/>
                  </a:moveTo>
                  <a:lnTo>
                    <a:pt x="69884" y="310473"/>
                  </a:lnTo>
                  <a:lnTo>
                    <a:pt x="147595" y="310473"/>
                  </a:lnTo>
                  <a:lnTo>
                    <a:pt x="147595" y="266609"/>
                  </a:lnTo>
                  <a:close/>
                  <a:moveTo>
                    <a:pt x="460769" y="230010"/>
                  </a:moveTo>
                  <a:lnTo>
                    <a:pt x="460769" y="268528"/>
                  </a:lnTo>
                  <a:lnTo>
                    <a:pt x="555916" y="268528"/>
                  </a:lnTo>
                  <a:lnTo>
                    <a:pt x="555916" y="230010"/>
                  </a:lnTo>
                  <a:close/>
                  <a:moveTo>
                    <a:pt x="216243" y="193549"/>
                  </a:moveTo>
                  <a:lnTo>
                    <a:pt x="216243" y="237412"/>
                  </a:lnTo>
                  <a:lnTo>
                    <a:pt x="293953" y="237412"/>
                  </a:lnTo>
                  <a:lnTo>
                    <a:pt x="293953" y="193549"/>
                  </a:lnTo>
                  <a:close/>
                  <a:moveTo>
                    <a:pt x="69884" y="193549"/>
                  </a:moveTo>
                  <a:lnTo>
                    <a:pt x="69884" y="237412"/>
                  </a:lnTo>
                  <a:lnTo>
                    <a:pt x="147595" y="237412"/>
                  </a:lnTo>
                  <a:lnTo>
                    <a:pt x="147595" y="193549"/>
                  </a:lnTo>
                  <a:close/>
                  <a:moveTo>
                    <a:pt x="460769" y="156950"/>
                  </a:moveTo>
                  <a:lnTo>
                    <a:pt x="460769" y="195468"/>
                  </a:lnTo>
                  <a:lnTo>
                    <a:pt x="555916" y="195468"/>
                  </a:lnTo>
                  <a:lnTo>
                    <a:pt x="555916" y="156950"/>
                  </a:lnTo>
                  <a:close/>
                  <a:moveTo>
                    <a:pt x="192926" y="96251"/>
                  </a:moveTo>
                  <a:lnTo>
                    <a:pt x="361366" y="96251"/>
                  </a:lnTo>
                  <a:lnTo>
                    <a:pt x="361366" y="114880"/>
                  </a:lnTo>
                  <a:lnTo>
                    <a:pt x="192926" y="114880"/>
                  </a:lnTo>
                  <a:close/>
                  <a:moveTo>
                    <a:pt x="192926" y="49819"/>
                  </a:moveTo>
                  <a:lnTo>
                    <a:pt x="361366" y="49819"/>
                  </a:lnTo>
                  <a:lnTo>
                    <a:pt x="361366" y="68307"/>
                  </a:lnTo>
                  <a:lnTo>
                    <a:pt x="192926" y="68307"/>
                  </a:lnTo>
                  <a:close/>
                  <a:moveTo>
                    <a:pt x="166130" y="25222"/>
                  </a:moveTo>
                  <a:lnTo>
                    <a:pt x="166130" y="155716"/>
                  </a:lnTo>
                  <a:lnTo>
                    <a:pt x="338987" y="155716"/>
                  </a:lnTo>
                  <a:lnTo>
                    <a:pt x="338987" y="341040"/>
                  </a:lnTo>
                  <a:lnTo>
                    <a:pt x="338987" y="531710"/>
                  </a:lnTo>
                  <a:lnTo>
                    <a:pt x="366721" y="531710"/>
                  </a:lnTo>
                  <a:lnTo>
                    <a:pt x="366721" y="341040"/>
                  </a:lnTo>
                  <a:lnTo>
                    <a:pt x="366721" y="155305"/>
                  </a:lnTo>
                  <a:lnTo>
                    <a:pt x="388002" y="143517"/>
                  </a:lnTo>
                  <a:lnTo>
                    <a:pt x="388002" y="25222"/>
                  </a:lnTo>
                  <a:close/>
                  <a:moveTo>
                    <a:pt x="140867" y="0"/>
                  </a:moveTo>
                  <a:lnTo>
                    <a:pt x="413402" y="0"/>
                  </a:lnTo>
                  <a:lnTo>
                    <a:pt x="413402" y="129398"/>
                  </a:lnTo>
                  <a:lnTo>
                    <a:pt x="432486" y="118843"/>
                  </a:lnTo>
                  <a:lnTo>
                    <a:pt x="584199" y="118843"/>
                  </a:lnTo>
                  <a:lnTo>
                    <a:pt x="584199" y="531710"/>
                  </a:lnTo>
                  <a:lnTo>
                    <a:pt x="609050" y="531710"/>
                  </a:lnTo>
                  <a:lnTo>
                    <a:pt x="609050" y="586540"/>
                  </a:lnTo>
                  <a:lnTo>
                    <a:pt x="0" y="586540"/>
                  </a:lnTo>
                  <a:lnTo>
                    <a:pt x="0" y="531710"/>
                  </a:lnTo>
                  <a:lnTo>
                    <a:pt x="24851" y="531710"/>
                  </a:lnTo>
                  <a:lnTo>
                    <a:pt x="24851" y="155716"/>
                  </a:lnTo>
                  <a:lnTo>
                    <a:pt x="140867" y="15571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F4AB94D8-974A-46E9-B729-482302AD5533}"/>
                </a:ext>
              </a:extLst>
            </p:cNvPr>
            <p:cNvSpPr/>
            <p:nvPr/>
          </p:nvSpPr>
          <p:spPr bwMode="auto">
            <a:xfrm>
              <a:off x="5801914" y="4810580"/>
              <a:ext cx="371729" cy="357990"/>
            </a:xfrm>
            <a:custGeom>
              <a:avLst/>
              <a:gdLst>
                <a:gd name="connsiteX0" fmla="*/ 216243 w 609050"/>
                <a:gd name="connsiteY0" fmla="*/ 412730 h 586540"/>
                <a:gd name="connsiteX1" fmla="*/ 216243 w 609050"/>
                <a:gd name="connsiteY1" fmla="*/ 456594 h 586540"/>
                <a:gd name="connsiteX2" fmla="*/ 293953 w 609050"/>
                <a:gd name="connsiteY2" fmla="*/ 456594 h 586540"/>
                <a:gd name="connsiteX3" fmla="*/ 293953 w 609050"/>
                <a:gd name="connsiteY3" fmla="*/ 412730 h 586540"/>
                <a:gd name="connsiteX4" fmla="*/ 69884 w 609050"/>
                <a:gd name="connsiteY4" fmla="*/ 412730 h 586540"/>
                <a:gd name="connsiteX5" fmla="*/ 69884 w 609050"/>
                <a:gd name="connsiteY5" fmla="*/ 456594 h 586540"/>
                <a:gd name="connsiteX6" fmla="*/ 147595 w 609050"/>
                <a:gd name="connsiteY6" fmla="*/ 456594 h 586540"/>
                <a:gd name="connsiteX7" fmla="*/ 147595 w 609050"/>
                <a:gd name="connsiteY7" fmla="*/ 412730 h 586540"/>
                <a:gd name="connsiteX8" fmla="*/ 460769 w 609050"/>
                <a:gd name="connsiteY8" fmla="*/ 376268 h 586540"/>
                <a:gd name="connsiteX9" fmla="*/ 460769 w 609050"/>
                <a:gd name="connsiteY9" fmla="*/ 414786 h 586540"/>
                <a:gd name="connsiteX10" fmla="*/ 555916 w 609050"/>
                <a:gd name="connsiteY10" fmla="*/ 414786 h 586540"/>
                <a:gd name="connsiteX11" fmla="*/ 555916 w 609050"/>
                <a:gd name="connsiteY11" fmla="*/ 376268 h 586540"/>
                <a:gd name="connsiteX12" fmla="*/ 216243 w 609050"/>
                <a:gd name="connsiteY12" fmla="*/ 339670 h 586540"/>
                <a:gd name="connsiteX13" fmla="*/ 216243 w 609050"/>
                <a:gd name="connsiteY13" fmla="*/ 383533 h 586540"/>
                <a:gd name="connsiteX14" fmla="*/ 293953 w 609050"/>
                <a:gd name="connsiteY14" fmla="*/ 383533 h 586540"/>
                <a:gd name="connsiteX15" fmla="*/ 293953 w 609050"/>
                <a:gd name="connsiteY15" fmla="*/ 339670 h 586540"/>
                <a:gd name="connsiteX16" fmla="*/ 69884 w 609050"/>
                <a:gd name="connsiteY16" fmla="*/ 339670 h 586540"/>
                <a:gd name="connsiteX17" fmla="*/ 69884 w 609050"/>
                <a:gd name="connsiteY17" fmla="*/ 383533 h 586540"/>
                <a:gd name="connsiteX18" fmla="*/ 147595 w 609050"/>
                <a:gd name="connsiteY18" fmla="*/ 383533 h 586540"/>
                <a:gd name="connsiteX19" fmla="*/ 147595 w 609050"/>
                <a:gd name="connsiteY19" fmla="*/ 339670 h 586540"/>
                <a:gd name="connsiteX20" fmla="*/ 460769 w 609050"/>
                <a:gd name="connsiteY20" fmla="*/ 303071 h 586540"/>
                <a:gd name="connsiteX21" fmla="*/ 460769 w 609050"/>
                <a:gd name="connsiteY21" fmla="*/ 341726 h 586540"/>
                <a:gd name="connsiteX22" fmla="*/ 555916 w 609050"/>
                <a:gd name="connsiteY22" fmla="*/ 341726 h 586540"/>
                <a:gd name="connsiteX23" fmla="*/ 555916 w 609050"/>
                <a:gd name="connsiteY23" fmla="*/ 303071 h 586540"/>
                <a:gd name="connsiteX24" fmla="*/ 216243 w 609050"/>
                <a:gd name="connsiteY24" fmla="*/ 266609 h 586540"/>
                <a:gd name="connsiteX25" fmla="*/ 216243 w 609050"/>
                <a:gd name="connsiteY25" fmla="*/ 310473 h 586540"/>
                <a:gd name="connsiteX26" fmla="*/ 293953 w 609050"/>
                <a:gd name="connsiteY26" fmla="*/ 310473 h 586540"/>
                <a:gd name="connsiteX27" fmla="*/ 293953 w 609050"/>
                <a:gd name="connsiteY27" fmla="*/ 266609 h 586540"/>
                <a:gd name="connsiteX28" fmla="*/ 69884 w 609050"/>
                <a:gd name="connsiteY28" fmla="*/ 266609 h 586540"/>
                <a:gd name="connsiteX29" fmla="*/ 69884 w 609050"/>
                <a:gd name="connsiteY29" fmla="*/ 310473 h 586540"/>
                <a:gd name="connsiteX30" fmla="*/ 147595 w 609050"/>
                <a:gd name="connsiteY30" fmla="*/ 310473 h 586540"/>
                <a:gd name="connsiteX31" fmla="*/ 147595 w 609050"/>
                <a:gd name="connsiteY31" fmla="*/ 266609 h 586540"/>
                <a:gd name="connsiteX32" fmla="*/ 460769 w 609050"/>
                <a:gd name="connsiteY32" fmla="*/ 230010 h 586540"/>
                <a:gd name="connsiteX33" fmla="*/ 460769 w 609050"/>
                <a:gd name="connsiteY33" fmla="*/ 268528 h 586540"/>
                <a:gd name="connsiteX34" fmla="*/ 555916 w 609050"/>
                <a:gd name="connsiteY34" fmla="*/ 268528 h 586540"/>
                <a:gd name="connsiteX35" fmla="*/ 555916 w 609050"/>
                <a:gd name="connsiteY35" fmla="*/ 230010 h 586540"/>
                <a:gd name="connsiteX36" fmla="*/ 216243 w 609050"/>
                <a:gd name="connsiteY36" fmla="*/ 193549 h 586540"/>
                <a:gd name="connsiteX37" fmla="*/ 216243 w 609050"/>
                <a:gd name="connsiteY37" fmla="*/ 237412 h 586540"/>
                <a:gd name="connsiteX38" fmla="*/ 293953 w 609050"/>
                <a:gd name="connsiteY38" fmla="*/ 237412 h 586540"/>
                <a:gd name="connsiteX39" fmla="*/ 293953 w 609050"/>
                <a:gd name="connsiteY39" fmla="*/ 193549 h 586540"/>
                <a:gd name="connsiteX40" fmla="*/ 69884 w 609050"/>
                <a:gd name="connsiteY40" fmla="*/ 193549 h 586540"/>
                <a:gd name="connsiteX41" fmla="*/ 69884 w 609050"/>
                <a:gd name="connsiteY41" fmla="*/ 237412 h 586540"/>
                <a:gd name="connsiteX42" fmla="*/ 147595 w 609050"/>
                <a:gd name="connsiteY42" fmla="*/ 237412 h 586540"/>
                <a:gd name="connsiteX43" fmla="*/ 147595 w 609050"/>
                <a:gd name="connsiteY43" fmla="*/ 193549 h 586540"/>
                <a:gd name="connsiteX44" fmla="*/ 460769 w 609050"/>
                <a:gd name="connsiteY44" fmla="*/ 156950 h 586540"/>
                <a:gd name="connsiteX45" fmla="*/ 460769 w 609050"/>
                <a:gd name="connsiteY45" fmla="*/ 195468 h 586540"/>
                <a:gd name="connsiteX46" fmla="*/ 555916 w 609050"/>
                <a:gd name="connsiteY46" fmla="*/ 195468 h 586540"/>
                <a:gd name="connsiteX47" fmla="*/ 555916 w 609050"/>
                <a:gd name="connsiteY47" fmla="*/ 156950 h 586540"/>
                <a:gd name="connsiteX48" fmla="*/ 192926 w 609050"/>
                <a:gd name="connsiteY48" fmla="*/ 96251 h 586540"/>
                <a:gd name="connsiteX49" fmla="*/ 361366 w 609050"/>
                <a:gd name="connsiteY49" fmla="*/ 96251 h 586540"/>
                <a:gd name="connsiteX50" fmla="*/ 361366 w 609050"/>
                <a:gd name="connsiteY50" fmla="*/ 114880 h 586540"/>
                <a:gd name="connsiteX51" fmla="*/ 192926 w 609050"/>
                <a:gd name="connsiteY51" fmla="*/ 114880 h 586540"/>
                <a:gd name="connsiteX52" fmla="*/ 192926 w 609050"/>
                <a:gd name="connsiteY52" fmla="*/ 49819 h 586540"/>
                <a:gd name="connsiteX53" fmla="*/ 361366 w 609050"/>
                <a:gd name="connsiteY53" fmla="*/ 49819 h 586540"/>
                <a:gd name="connsiteX54" fmla="*/ 361366 w 609050"/>
                <a:gd name="connsiteY54" fmla="*/ 68307 h 586540"/>
                <a:gd name="connsiteX55" fmla="*/ 192926 w 609050"/>
                <a:gd name="connsiteY55" fmla="*/ 68307 h 586540"/>
                <a:gd name="connsiteX56" fmla="*/ 166130 w 609050"/>
                <a:gd name="connsiteY56" fmla="*/ 25222 h 586540"/>
                <a:gd name="connsiteX57" fmla="*/ 166130 w 609050"/>
                <a:gd name="connsiteY57" fmla="*/ 155716 h 586540"/>
                <a:gd name="connsiteX58" fmla="*/ 338987 w 609050"/>
                <a:gd name="connsiteY58" fmla="*/ 155716 h 586540"/>
                <a:gd name="connsiteX59" fmla="*/ 338987 w 609050"/>
                <a:gd name="connsiteY59" fmla="*/ 341040 h 586540"/>
                <a:gd name="connsiteX60" fmla="*/ 338987 w 609050"/>
                <a:gd name="connsiteY60" fmla="*/ 531710 h 586540"/>
                <a:gd name="connsiteX61" fmla="*/ 366721 w 609050"/>
                <a:gd name="connsiteY61" fmla="*/ 531710 h 586540"/>
                <a:gd name="connsiteX62" fmla="*/ 366721 w 609050"/>
                <a:gd name="connsiteY62" fmla="*/ 341040 h 586540"/>
                <a:gd name="connsiteX63" fmla="*/ 366721 w 609050"/>
                <a:gd name="connsiteY63" fmla="*/ 155305 h 586540"/>
                <a:gd name="connsiteX64" fmla="*/ 388002 w 609050"/>
                <a:gd name="connsiteY64" fmla="*/ 143517 h 586540"/>
                <a:gd name="connsiteX65" fmla="*/ 388002 w 609050"/>
                <a:gd name="connsiteY65" fmla="*/ 25222 h 586540"/>
                <a:gd name="connsiteX66" fmla="*/ 140867 w 609050"/>
                <a:gd name="connsiteY66" fmla="*/ 0 h 586540"/>
                <a:gd name="connsiteX67" fmla="*/ 413402 w 609050"/>
                <a:gd name="connsiteY67" fmla="*/ 0 h 586540"/>
                <a:gd name="connsiteX68" fmla="*/ 413402 w 609050"/>
                <a:gd name="connsiteY68" fmla="*/ 129398 h 586540"/>
                <a:gd name="connsiteX69" fmla="*/ 432486 w 609050"/>
                <a:gd name="connsiteY69" fmla="*/ 118843 h 586540"/>
                <a:gd name="connsiteX70" fmla="*/ 584199 w 609050"/>
                <a:gd name="connsiteY70" fmla="*/ 118843 h 586540"/>
                <a:gd name="connsiteX71" fmla="*/ 584199 w 609050"/>
                <a:gd name="connsiteY71" fmla="*/ 531710 h 586540"/>
                <a:gd name="connsiteX72" fmla="*/ 609050 w 609050"/>
                <a:gd name="connsiteY72" fmla="*/ 531710 h 586540"/>
                <a:gd name="connsiteX73" fmla="*/ 609050 w 609050"/>
                <a:gd name="connsiteY73" fmla="*/ 586540 h 586540"/>
                <a:gd name="connsiteX74" fmla="*/ 0 w 609050"/>
                <a:gd name="connsiteY74" fmla="*/ 586540 h 586540"/>
                <a:gd name="connsiteX75" fmla="*/ 0 w 609050"/>
                <a:gd name="connsiteY75" fmla="*/ 531710 h 586540"/>
                <a:gd name="connsiteX76" fmla="*/ 24851 w 609050"/>
                <a:gd name="connsiteY76" fmla="*/ 531710 h 586540"/>
                <a:gd name="connsiteX77" fmla="*/ 24851 w 609050"/>
                <a:gd name="connsiteY77" fmla="*/ 155716 h 586540"/>
                <a:gd name="connsiteX78" fmla="*/ 140867 w 609050"/>
                <a:gd name="connsiteY78" fmla="*/ 155716 h 586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09050" h="586540">
                  <a:moveTo>
                    <a:pt x="216243" y="412730"/>
                  </a:moveTo>
                  <a:lnTo>
                    <a:pt x="216243" y="456594"/>
                  </a:lnTo>
                  <a:lnTo>
                    <a:pt x="293953" y="456594"/>
                  </a:lnTo>
                  <a:lnTo>
                    <a:pt x="293953" y="412730"/>
                  </a:lnTo>
                  <a:close/>
                  <a:moveTo>
                    <a:pt x="69884" y="412730"/>
                  </a:moveTo>
                  <a:lnTo>
                    <a:pt x="69884" y="456594"/>
                  </a:lnTo>
                  <a:lnTo>
                    <a:pt x="147595" y="456594"/>
                  </a:lnTo>
                  <a:lnTo>
                    <a:pt x="147595" y="412730"/>
                  </a:lnTo>
                  <a:close/>
                  <a:moveTo>
                    <a:pt x="460769" y="376268"/>
                  </a:moveTo>
                  <a:lnTo>
                    <a:pt x="460769" y="414786"/>
                  </a:lnTo>
                  <a:lnTo>
                    <a:pt x="555916" y="414786"/>
                  </a:lnTo>
                  <a:lnTo>
                    <a:pt x="555916" y="376268"/>
                  </a:lnTo>
                  <a:close/>
                  <a:moveTo>
                    <a:pt x="216243" y="339670"/>
                  </a:moveTo>
                  <a:lnTo>
                    <a:pt x="216243" y="383533"/>
                  </a:lnTo>
                  <a:lnTo>
                    <a:pt x="293953" y="383533"/>
                  </a:lnTo>
                  <a:lnTo>
                    <a:pt x="293953" y="339670"/>
                  </a:lnTo>
                  <a:close/>
                  <a:moveTo>
                    <a:pt x="69884" y="339670"/>
                  </a:moveTo>
                  <a:lnTo>
                    <a:pt x="69884" y="383533"/>
                  </a:lnTo>
                  <a:lnTo>
                    <a:pt x="147595" y="383533"/>
                  </a:lnTo>
                  <a:lnTo>
                    <a:pt x="147595" y="339670"/>
                  </a:lnTo>
                  <a:close/>
                  <a:moveTo>
                    <a:pt x="460769" y="303071"/>
                  </a:moveTo>
                  <a:lnTo>
                    <a:pt x="460769" y="341726"/>
                  </a:lnTo>
                  <a:lnTo>
                    <a:pt x="555916" y="341726"/>
                  </a:lnTo>
                  <a:lnTo>
                    <a:pt x="555916" y="303071"/>
                  </a:lnTo>
                  <a:close/>
                  <a:moveTo>
                    <a:pt x="216243" y="266609"/>
                  </a:moveTo>
                  <a:lnTo>
                    <a:pt x="216243" y="310473"/>
                  </a:lnTo>
                  <a:lnTo>
                    <a:pt x="293953" y="310473"/>
                  </a:lnTo>
                  <a:lnTo>
                    <a:pt x="293953" y="266609"/>
                  </a:lnTo>
                  <a:close/>
                  <a:moveTo>
                    <a:pt x="69884" y="266609"/>
                  </a:moveTo>
                  <a:lnTo>
                    <a:pt x="69884" y="310473"/>
                  </a:lnTo>
                  <a:lnTo>
                    <a:pt x="147595" y="310473"/>
                  </a:lnTo>
                  <a:lnTo>
                    <a:pt x="147595" y="266609"/>
                  </a:lnTo>
                  <a:close/>
                  <a:moveTo>
                    <a:pt x="460769" y="230010"/>
                  </a:moveTo>
                  <a:lnTo>
                    <a:pt x="460769" y="268528"/>
                  </a:lnTo>
                  <a:lnTo>
                    <a:pt x="555916" y="268528"/>
                  </a:lnTo>
                  <a:lnTo>
                    <a:pt x="555916" y="230010"/>
                  </a:lnTo>
                  <a:close/>
                  <a:moveTo>
                    <a:pt x="216243" y="193549"/>
                  </a:moveTo>
                  <a:lnTo>
                    <a:pt x="216243" y="237412"/>
                  </a:lnTo>
                  <a:lnTo>
                    <a:pt x="293953" y="237412"/>
                  </a:lnTo>
                  <a:lnTo>
                    <a:pt x="293953" y="193549"/>
                  </a:lnTo>
                  <a:close/>
                  <a:moveTo>
                    <a:pt x="69884" y="193549"/>
                  </a:moveTo>
                  <a:lnTo>
                    <a:pt x="69884" y="237412"/>
                  </a:lnTo>
                  <a:lnTo>
                    <a:pt x="147595" y="237412"/>
                  </a:lnTo>
                  <a:lnTo>
                    <a:pt x="147595" y="193549"/>
                  </a:lnTo>
                  <a:close/>
                  <a:moveTo>
                    <a:pt x="460769" y="156950"/>
                  </a:moveTo>
                  <a:lnTo>
                    <a:pt x="460769" y="195468"/>
                  </a:lnTo>
                  <a:lnTo>
                    <a:pt x="555916" y="195468"/>
                  </a:lnTo>
                  <a:lnTo>
                    <a:pt x="555916" y="156950"/>
                  </a:lnTo>
                  <a:close/>
                  <a:moveTo>
                    <a:pt x="192926" y="96251"/>
                  </a:moveTo>
                  <a:lnTo>
                    <a:pt x="361366" y="96251"/>
                  </a:lnTo>
                  <a:lnTo>
                    <a:pt x="361366" y="114880"/>
                  </a:lnTo>
                  <a:lnTo>
                    <a:pt x="192926" y="114880"/>
                  </a:lnTo>
                  <a:close/>
                  <a:moveTo>
                    <a:pt x="192926" y="49819"/>
                  </a:moveTo>
                  <a:lnTo>
                    <a:pt x="361366" y="49819"/>
                  </a:lnTo>
                  <a:lnTo>
                    <a:pt x="361366" y="68307"/>
                  </a:lnTo>
                  <a:lnTo>
                    <a:pt x="192926" y="68307"/>
                  </a:lnTo>
                  <a:close/>
                  <a:moveTo>
                    <a:pt x="166130" y="25222"/>
                  </a:moveTo>
                  <a:lnTo>
                    <a:pt x="166130" y="155716"/>
                  </a:lnTo>
                  <a:lnTo>
                    <a:pt x="338987" y="155716"/>
                  </a:lnTo>
                  <a:lnTo>
                    <a:pt x="338987" y="341040"/>
                  </a:lnTo>
                  <a:lnTo>
                    <a:pt x="338987" y="531710"/>
                  </a:lnTo>
                  <a:lnTo>
                    <a:pt x="366721" y="531710"/>
                  </a:lnTo>
                  <a:lnTo>
                    <a:pt x="366721" y="341040"/>
                  </a:lnTo>
                  <a:lnTo>
                    <a:pt x="366721" y="155305"/>
                  </a:lnTo>
                  <a:lnTo>
                    <a:pt x="388002" y="143517"/>
                  </a:lnTo>
                  <a:lnTo>
                    <a:pt x="388002" y="25222"/>
                  </a:lnTo>
                  <a:close/>
                  <a:moveTo>
                    <a:pt x="140867" y="0"/>
                  </a:moveTo>
                  <a:lnTo>
                    <a:pt x="413402" y="0"/>
                  </a:lnTo>
                  <a:lnTo>
                    <a:pt x="413402" y="129398"/>
                  </a:lnTo>
                  <a:lnTo>
                    <a:pt x="432486" y="118843"/>
                  </a:lnTo>
                  <a:lnTo>
                    <a:pt x="584199" y="118843"/>
                  </a:lnTo>
                  <a:lnTo>
                    <a:pt x="584199" y="531710"/>
                  </a:lnTo>
                  <a:lnTo>
                    <a:pt x="609050" y="531710"/>
                  </a:lnTo>
                  <a:lnTo>
                    <a:pt x="609050" y="586540"/>
                  </a:lnTo>
                  <a:lnTo>
                    <a:pt x="0" y="586540"/>
                  </a:lnTo>
                  <a:lnTo>
                    <a:pt x="0" y="531710"/>
                  </a:lnTo>
                  <a:lnTo>
                    <a:pt x="24851" y="531710"/>
                  </a:lnTo>
                  <a:lnTo>
                    <a:pt x="24851" y="155716"/>
                  </a:lnTo>
                  <a:lnTo>
                    <a:pt x="140867" y="15571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F9AE9732-63B9-44B6-A82B-E81BDE8E6B0A}"/>
                </a:ext>
              </a:extLst>
            </p:cNvPr>
            <p:cNvSpPr/>
            <p:nvPr/>
          </p:nvSpPr>
          <p:spPr bwMode="auto">
            <a:xfrm>
              <a:off x="4460041" y="3517822"/>
              <a:ext cx="394553" cy="379970"/>
            </a:xfrm>
            <a:custGeom>
              <a:avLst/>
              <a:gdLst>
                <a:gd name="connsiteX0" fmla="*/ 216243 w 609050"/>
                <a:gd name="connsiteY0" fmla="*/ 412730 h 586540"/>
                <a:gd name="connsiteX1" fmla="*/ 216243 w 609050"/>
                <a:gd name="connsiteY1" fmla="*/ 456594 h 586540"/>
                <a:gd name="connsiteX2" fmla="*/ 293953 w 609050"/>
                <a:gd name="connsiteY2" fmla="*/ 456594 h 586540"/>
                <a:gd name="connsiteX3" fmla="*/ 293953 w 609050"/>
                <a:gd name="connsiteY3" fmla="*/ 412730 h 586540"/>
                <a:gd name="connsiteX4" fmla="*/ 69884 w 609050"/>
                <a:gd name="connsiteY4" fmla="*/ 412730 h 586540"/>
                <a:gd name="connsiteX5" fmla="*/ 69884 w 609050"/>
                <a:gd name="connsiteY5" fmla="*/ 456594 h 586540"/>
                <a:gd name="connsiteX6" fmla="*/ 147595 w 609050"/>
                <a:gd name="connsiteY6" fmla="*/ 456594 h 586540"/>
                <a:gd name="connsiteX7" fmla="*/ 147595 w 609050"/>
                <a:gd name="connsiteY7" fmla="*/ 412730 h 586540"/>
                <a:gd name="connsiteX8" fmla="*/ 460769 w 609050"/>
                <a:gd name="connsiteY8" fmla="*/ 376268 h 586540"/>
                <a:gd name="connsiteX9" fmla="*/ 460769 w 609050"/>
                <a:gd name="connsiteY9" fmla="*/ 414786 h 586540"/>
                <a:gd name="connsiteX10" fmla="*/ 555916 w 609050"/>
                <a:gd name="connsiteY10" fmla="*/ 414786 h 586540"/>
                <a:gd name="connsiteX11" fmla="*/ 555916 w 609050"/>
                <a:gd name="connsiteY11" fmla="*/ 376268 h 586540"/>
                <a:gd name="connsiteX12" fmla="*/ 216243 w 609050"/>
                <a:gd name="connsiteY12" fmla="*/ 339670 h 586540"/>
                <a:gd name="connsiteX13" fmla="*/ 216243 w 609050"/>
                <a:gd name="connsiteY13" fmla="*/ 383533 h 586540"/>
                <a:gd name="connsiteX14" fmla="*/ 293953 w 609050"/>
                <a:gd name="connsiteY14" fmla="*/ 383533 h 586540"/>
                <a:gd name="connsiteX15" fmla="*/ 293953 w 609050"/>
                <a:gd name="connsiteY15" fmla="*/ 339670 h 586540"/>
                <a:gd name="connsiteX16" fmla="*/ 69884 w 609050"/>
                <a:gd name="connsiteY16" fmla="*/ 339670 h 586540"/>
                <a:gd name="connsiteX17" fmla="*/ 69884 w 609050"/>
                <a:gd name="connsiteY17" fmla="*/ 383533 h 586540"/>
                <a:gd name="connsiteX18" fmla="*/ 147595 w 609050"/>
                <a:gd name="connsiteY18" fmla="*/ 383533 h 586540"/>
                <a:gd name="connsiteX19" fmla="*/ 147595 w 609050"/>
                <a:gd name="connsiteY19" fmla="*/ 339670 h 586540"/>
                <a:gd name="connsiteX20" fmla="*/ 460769 w 609050"/>
                <a:gd name="connsiteY20" fmla="*/ 303071 h 586540"/>
                <a:gd name="connsiteX21" fmla="*/ 460769 w 609050"/>
                <a:gd name="connsiteY21" fmla="*/ 341726 h 586540"/>
                <a:gd name="connsiteX22" fmla="*/ 555916 w 609050"/>
                <a:gd name="connsiteY22" fmla="*/ 341726 h 586540"/>
                <a:gd name="connsiteX23" fmla="*/ 555916 w 609050"/>
                <a:gd name="connsiteY23" fmla="*/ 303071 h 586540"/>
                <a:gd name="connsiteX24" fmla="*/ 216243 w 609050"/>
                <a:gd name="connsiteY24" fmla="*/ 266609 h 586540"/>
                <a:gd name="connsiteX25" fmla="*/ 216243 w 609050"/>
                <a:gd name="connsiteY25" fmla="*/ 310473 h 586540"/>
                <a:gd name="connsiteX26" fmla="*/ 293953 w 609050"/>
                <a:gd name="connsiteY26" fmla="*/ 310473 h 586540"/>
                <a:gd name="connsiteX27" fmla="*/ 293953 w 609050"/>
                <a:gd name="connsiteY27" fmla="*/ 266609 h 586540"/>
                <a:gd name="connsiteX28" fmla="*/ 69884 w 609050"/>
                <a:gd name="connsiteY28" fmla="*/ 266609 h 586540"/>
                <a:gd name="connsiteX29" fmla="*/ 69884 w 609050"/>
                <a:gd name="connsiteY29" fmla="*/ 310473 h 586540"/>
                <a:gd name="connsiteX30" fmla="*/ 147595 w 609050"/>
                <a:gd name="connsiteY30" fmla="*/ 310473 h 586540"/>
                <a:gd name="connsiteX31" fmla="*/ 147595 w 609050"/>
                <a:gd name="connsiteY31" fmla="*/ 266609 h 586540"/>
                <a:gd name="connsiteX32" fmla="*/ 460769 w 609050"/>
                <a:gd name="connsiteY32" fmla="*/ 230010 h 586540"/>
                <a:gd name="connsiteX33" fmla="*/ 460769 w 609050"/>
                <a:gd name="connsiteY33" fmla="*/ 268528 h 586540"/>
                <a:gd name="connsiteX34" fmla="*/ 555916 w 609050"/>
                <a:gd name="connsiteY34" fmla="*/ 268528 h 586540"/>
                <a:gd name="connsiteX35" fmla="*/ 555916 w 609050"/>
                <a:gd name="connsiteY35" fmla="*/ 230010 h 586540"/>
                <a:gd name="connsiteX36" fmla="*/ 216243 w 609050"/>
                <a:gd name="connsiteY36" fmla="*/ 193549 h 586540"/>
                <a:gd name="connsiteX37" fmla="*/ 216243 w 609050"/>
                <a:gd name="connsiteY37" fmla="*/ 237412 h 586540"/>
                <a:gd name="connsiteX38" fmla="*/ 293953 w 609050"/>
                <a:gd name="connsiteY38" fmla="*/ 237412 h 586540"/>
                <a:gd name="connsiteX39" fmla="*/ 293953 w 609050"/>
                <a:gd name="connsiteY39" fmla="*/ 193549 h 586540"/>
                <a:gd name="connsiteX40" fmla="*/ 69884 w 609050"/>
                <a:gd name="connsiteY40" fmla="*/ 193549 h 586540"/>
                <a:gd name="connsiteX41" fmla="*/ 69884 w 609050"/>
                <a:gd name="connsiteY41" fmla="*/ 237412 h 586540"/>
                <a:gd name="connsiteX42" fmla="*/ 147595 w 609050"/>
                <a:gd name="connsiteY42" fmla="*/ 237412 h 586540"/>
                <a:gd name="connsiteX43" fmla="*/ 147595 w 609050"/>
                <a:gd name="connsiteY43" fmla="*/ 193549 h 586540"/>
                <a:gd name="connsiteX44" fmla="*/ 460769 w 609050"/>
                <a:gd name="connsiteY44" fmla="*/ 156950 h 586540"/>
                <a:gd name="connsiteX45" fmla="*/ 460769 w 609050"/>
                <a:gd name="connsiteY45" fmla="*/ 195468 h 586540"/>
                <a:gd name="connsiteX46" fmla="*/ 555916 w 609050"/>
                <a:gd name="connsiteY46" fmla="*/ 195468 h 586540"/>
                <a:gd name="connsiteX47" fmla="*/ 555916 w 609050"/>
                <a:gd name="connsiteY47" fmla="*/ 156950 h 586540"/>
                <a:gd name="connsiteX48" fmla="*/ 192926 w 609050"/>
                <a:gd name="connsiteY48" fmla="*/ 96251 h 586540"/>
                <a:gd name="connsiteX49" fmla="*/ 361366 w 609050"/>
                <a:gd name="connsiteY49" fmla="*/ 96251 h 586540"/>
                <a:gd name="connsiteX50" fmla="*/ 361366 w 609050"/>
                <a:gd name="connsiteY50" fmla="*/ 114880 h 586540"/>
                <a:gd name="connsiteX51" fmla="*/ 192926 w 609050"/>
                <a:gd name="connsiteY51" fmla="*/ 114880 h 586540"/>
                <a:gd name="connsiteX52" fmla="*/ 192926 w 609050"/>
                <a:gd name="connsiteY52" fmla="*/ 49819 h 586540"/>
                <a:gd name="connsiteX53" fmla="*/ 361366 w 609050"/>
                <a:gd name="connsiteY53" fmla="*/ 49819 h 586540"/>
                <a:gd name="connsiteX54" fmla="*/ 361366 w 609050"/>
                <a:gd name="connsiteY54" fmla="*/ 68307 h 586540"/>
                <a:gd name="connsiteX55" fmla="*/ 192926 w 609050"/>
                <a:gd name="connsiteY55" fmla="*/ 68307 h 586540"/>
                <a:gd name="connsiteX56" fmla="*/ 166130 w 609050"/>
                <a:gd name="connsiteY56" fmla="*/ 25222 h 586540"/>
                <a:gd name="connsiteX57" fmla="*/ 166130 w 609050"/>
                <a:gd name="connsiteY57" fmla="*/ 155716 h 586540"/>
                <a:gd name="connsiteX58" fmla="*/ 338987 w 609050"/>
                <a:gd name="connsiteY58" fmla="*/ 155716 h 586540"/>
                <a:gd name="connsiteX59" fmla="*/ 338987 w 609050"/>
                <a:gd name="connsiteY59" fmla="*/ 341040 h 586540"/>
                <a:gd name="connsiteX60" fmla="*/ 338987 w 609050"/>
                <a:gd name="connsiteY60" fmla="*/ 531710 h 586540"/>
                <a:gd name="connsiteX61" fmla="*/ 366721 w 609050"/>
                <a:gd name="connsiteY61" fmla="*/ 531710 h 586540"/>
                <a:gd name="connsiteX62" fmla="*/ 366721 w 609050"/>
                <a:gd name="connsiteY62" fmla="*/ 341040 h 586540"/>
                <a:gd name="connsiteX63" fmla="*/ 366721 w 609050"/>
                <a:gd name="connsiteY63" fmla="*/ 155305 h 586540"/>
                <a:gd name="connsiteX64" fmla="*/ 388002 w 609050"/>
                <a:gd name="connsiteY64" fmla="*/ 143517 h 586540"/>
                <a:gd name="connsiteX65" fmla="*/ 388002 w 609050"/>
                <a:gd name="connsiteY65" fmla="*/ 25222 h 586540"/>
                <a:gd name="connsiteX66" fmla="*/ 140867 w 609050"/>
                <a:gd name="connsiteY66" fmla="*/ 0 h 586540"/>
                <a:gd name="connsiteX67" fmla="*/ 413402 w 609050"/>
                <a:gd name="connsiteY67" fmla="*/ 0 h 586540"/>
                <a:gd name="connsiteX68" fmla="*/ 413402 w 609050"/>
                <a:gd name="connsiteY68" fmla="*/ 129398 h 586540"/>
                <a:gd name="connsiteX69" fmla="*/ 432486 w 609050"/>
                <a:gd name="connsiteY69" fmla="*/ 118843 h 586540"/>
                <a:gd name="connsiteX70" fmla="*/ 584199 w 609050"/>
                <a:gd name="connsiteY70" fmla="*/ 118843 h 586540"/>
                <a:gd name="connsiteX71" fmla="*/ 584199 w 609050"/>
                <a:gd name="connsiteY71" fmla="*/ 531710 h 586540"/>
                <a:gd name="connsiteX72" fmla="*/ 609050 w 609050"/>
                <a:gd name="connsiteY72" fmla="*/ 531710 h 586540"/>
                <a:gd name="connsiteX73" fmla="*/ 609050 w 609050"/>
                <a:gd name="connsiteY73" fmla="*/ 586540 h 586540"/>
                <a:gd name="connsiteX74" fmla="*/ 0 w 609050"/>
                <a:gd name="connsiteY74" fmla="*/ 586540 h 586540"/>
                <a:gd name="connsiteX75" fmla="*/ 0 w 609050"/>
                <a:gd name="connsiteY75" fmla="*/ 531710 h 586540"/>
                <a:gd name="connsiteX76" fmla="*/ 24851 w 609050"/>
                <a:gd name="connsiteY76" fmla="*/ 531710 h 586540"/>
                <a:gd name="connsiteX77" fmla="*/ 24851 w 609050"/>
                <a:gd name="connsiteY77" fmla="*/ 155716 h 586540"/>
                <a:gd name="connsiteX78" fmla="*/ 140867 w 609050"/>
                <a:gd name="connsiteY78" fmla="*/ 155716 h 586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609050" h="586540">
                  <a:moveTo>
                    <a:pt x="216243" y="412730"/>
                  </a:moveTo>
                  <a:lnTo>
                    <a:pt x="216243" y="456594"/>
                  </a:lnTo>
                  <a:lnTo>
                    <a:pt x="293953" y="456594"/>
                  </a:lnTo>
                  <a:lnTo>
                    <a:pt x="293953" y="412730"/>
                  </a:lnTo>
                  <a:close/>
                  <a:moveTo>
                    <a:pt x="69884" y="412730"/>
                  </a:moveTo>
                  <a:lnTo>
                    <a:pt x="69884" y="456594"/>
                  </a:lnTo>
                  <a:lnTo>
                    <a:pt x="147595" y="456594"/>
                  </a:lnTo>
                  <a:lnTo>
                    <a:pt x="147595" y="412730"/>
                  </a:lnTo>
                  <a:close/>
                  <a:moveTo>
                    <a:pt x="460769" y="376268"/>
                  </a:moveTo>
                  <a:lnTo>
                    <a:pt x="460769" y="414786"/>
                  </a:lnTo>
                  <a:lnTo>
                    <a:pt x="555916" y="414786"/>
                  </a:lnTo>
                  <a:lnTo>
                    <a:pt x="555916" y="376268"/>
                  </a:lnTo>
                  <a:close/>
                  <a:moveTo>
                    <a:pt x="216243" y="339670"/>
                  </a:moveTo>
                  <a:lnTo>
                    <a:pt x="216243" y="383533"/>
                  </a:lnTo>
                  <a:lnTo>
                    <a:pt x="293953" y="383533"/>
                  </a:lnTo>
                  <a:lnTo>
                    <a:pt x="293953" y="339670"/>
                  </a:lnTo>
                  <a:close/>
                  <a:moveTo>
                    <a:pt x="69884" y="339670"/>
                  </a:moveTo>
                  <a:lnTo>
                    <a:pt x="69884" y="383533"/>
                  </a:lnTo>
                  <a:lnTo>
                    <a:pt x="147595" y="383533"/>
                  </a:lnTo>
                  <a:lnTo>
                    <a:pt x="147595" y="339670"/>
                  </a:lnTo>
                  <a:close/>
                  <a:moveTo>
                    <a:pt x="460769" y="303071"/>
                  </a:moveTo>
                  <a:lnTo>
                    <a:pt x="460769" y="341726"/>
                  </a:lnTo>
                  <a:lnTo>
                    <a:pt x="555916" y="341726"/>
                  </a:lnTo>
                  <a:lnTo>
                    <a:pt x="555916" y="303071"/>
                  </a:lnTo>
                  <a:close/>
                  <a:moveTo>
                    <a:pt x="216243" y="266609"/>
                  </a:moveTo>
                  <a:lnTo>
                    <a:pt x="216243" y="310473"/>
                  </a:lnTo>
                  <a:lnTo>
                    <a:pt x="293953" y="310473"/>
                  </a:lnTo>
                  <a:lnTo>
                    <a:pt x="293953" y="266609"/>
                  </a:lnTo>
                  <a:close/>
                  <a:moveTo>
                    <a:pt x="69884" y="266609"/>
                  </a:moveTo>
                  <a:lnTo>
                    <a:pt x="69884" y="310473"/>
                  </a:lnTo>
                  <a:lnTo>
                    <a:pt x="147595" y="310473"/>
                  </a:lnTo>
                  <a:lnTo>
                    <a:pt x="147595" y="266609"/>
                  </a:lnTo>
                  <a:close/>
                  <a:moveTo>
                    <a:pt x="460769" y="230010"/>
                  </a:moveTo>
                  <a:lnTo>
                    <a:pt x="460769" y="268528"/>
                  </a:lnTo>
                  <a:lnTo>
                    <a:pt x="555916" y="268528"/>
                  </a:lnTo>
                  <a:lnTo>
                    <a:pt x="555916" y="230010"/>
                  </a:lnTo>
                  <a:close/>
                  <a:moveTo>
                    <a:pt x="216243" y="193549"/>
                  </a:moveTo>
                  <a:lnTo>
                    <a:pt x="216243" y="237412"/>
                  </a:lnTo>
                  <a:lnTo>
                    <a:pt x="293953" y="237412"/>
                  </a:lnTo>
                  <a:lnTo>
                    <a:pt x="293953" y="193549"/>
                  </a:lnTo>
                  <a:close/>
                  <a:moveTo>
                    <a:pt x="69884" y="193549"/>
                  </a:moveTo>
                  <a:lnTo>
                    <a:pt x="69884" y="237412"/>
                  </a:lnTo>
                  <a:lnTo>
                    <a:pt x="147595" y="237412"/>
                  </a:lnTo>
                  <a:lnTo>
                    <a:pt x="147595" y="193549"/>
                  </a:lnTo>
                  <a:close/>
                  <a:moveTo>
                    <a:pt x="460769" y="156950"/>
                  </a:moveTo>
                  <a:lnTo>
                    <a:pt x="460769" y="195468"/>
                  </a:lnTo>
                  <a:lnTo>
                    <a:pt x="555916" y="195468"/>
                  </a:lnTo>
                  <a:lnTo>
                    <a:pt x="555916" y="156950"/>
                  </a:lnTo>
                  <a:close/>
                  <a:moveTo>
                    <a:pt x="192926" y="96251"/>
                  </a:moveTo>
                  <a:lnTo>
                    <a:pt x="361366" y="96251"/>
                  </a:lnTo>
                  <a:lnTo>
                    <a:pt x="361366" y="114880"/>
                  </a:lnTo>
                  <a:lnTo>
                    <a:pt x="192926" y="114880"/>
                  </a:lnTo>
                  <a:close/>
                  <a:moveTo>
                    <a:pt x="192926" y="49819"/>
                  </a:moveTo>
                  <a:lnTo>
                    <a:pt x="361366" y="49819"/>
                  </a:lnTo>
                  <a:lnTo>
                    <a:pt x="361366" y="68307"/>
                  </a:lnTo>
                  <a:lnTo>
                    <a:pt x="192926" y="68307"/>
                  </a:lnTo>
                  <a:close/>
                  <a:moveTo>
                    <a:pt x="166130" y="25222"/>
                  </a:moveTo>
                  <a:lnTo>
                    <a:pt x="166130" y="155716"/>
                  </a:lnTo>
                  <a:lnTo>
                    <a:pt x="338987" y="155716"/>
                  </a:lnTo>
                  <a:lnTo>
                    <a:pt x="338987" y="341040"/>
                  </a:lnTo>
                  <a:lnTo>
                    <a:pt x="338987" y="531710"/>
                  </a:lnTo>
                  <a:lnTo>
                    <a:pt x="366721" y="531710"/>
                  </a:lnTo>
                  <a:lnTo>
                    <a:pt x="366721" y="341040"/>
                  </a:lnTo>
                  <a:lnTo>
                    <a:pt x="366721" y="155305"/>
                  </a:lnTo>
                  <a:lnTo>
                    <a:pt x="388002" y="143517"/>
                  </a:lnTo>
                  <a:lnTo>
                    <a:pt x="388002" y="25222"/>
                  </a:lnTo>
                  <a:close/>
                  <a:moveTo>
                    <a:pt x="140867" y="0"/>
                  </a:moveTo>
                  <a:lnTo>
                    <a:pt x="413402" y="0"/>
                  </a:lnTo>
                  <a:lnTo>
                    <a:pt x="413402" y="129398"/>
                  </a:lnTo>
                  <a:lnTo>
                    <a:pt x="432486" y="118843"/>
                  </a:lnTo>
                  <a:lnTo>
                    <a:pt x="584199" y="118843"/>
                  </a:lnTo>
                  <a:lnTo>
                    <a:pt x="584199" y="531710"/>
                  </a:lnTo>
                  <a:lnTo>
                    <a:pt x="609050" y="531710"/>
                  </a:lnTo>
                  <a:lnTo>
                    <a:pt x="609050" y="586540"/>
                  </a:lnTo>
                  <a:lnTo>
                    <a:pt x="0" y="586540"/>
                  </a:lnTo>
                  <a:lnTo>
                    <a:pt x="0" y="531710"/>
                  </a:lnTo>
                  <a:lnTo>
                    <a:pt x="24851" y="531710"/>
                  </a:lnTo>
                  <a:lnTo>
                    <a:pt x="24851" y="155716"/>
                  </a:lnTo>
                  <a:lnTo>
                    <a:pt x="140867" y="15571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none"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BCBD4FD5-5444-4CC9-9FAE-542DDCCA0B9C}"/>
                </a:ext>
              </a:extLst>
            </p:cNvPr>
            <p:cNvSpPr txBox="1"/>
            <p:nvPr/>
          </p:nvSpPr>
          <p:spPr bwMode="auto">
            <a:xfrm>
              <a:off x="5422991" y="3382074"/>
              <a:ext cx="1260000" cy="3915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 dirty="0">
                  <a:solidFill>
                    <a:schemeClr val="bg1"/>
                  </a:solidFill>
                </a:rPr>
                <a:t>Text here</a:t>
              </a:r>
            </a:p>
          </p:txBody>
        </p: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2B5553C0-3C55-4679-85A7-E21273589420}"/>
                </a:ext>
              </a:extLst>
            </p:cNvPr>
            <p:cNvSpPr txBox="1"/>
            <p:nvPr/>
          </p:nvSpPr>
          <p:spPr bwMode="auto">
            <a:xfrm>
              <a:off x="6750408" y="4723001"/>
              <a:ext cx="1260000" cy="3915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 dirty="0">
                  <a:solidFill>
                    <a:schemeClr val="bg1"/>
                  </a:solidFill>
                </a:rPr>
                <a:t>Text here</a:t>
              </a:r>
            </a:p>
          </p:txBody>
        </p:sp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66243175-47D2-4E19-AF7F-2ADB1A48BD91}"/>
                </a:ext>
              </a:extLst>
            </p:cNvPr>
            <p:cNvSpPr/>
            <p:nvPr/>
          </p:nvSpPr>
          <p:spPr bwMode="auto">
            <a:xfrm>
              <a:off x="673100" y="2848940"/>
              <a:ext cx="3074073" cy="916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9ADC546D-CE83-45B5-BF21-012A2CC6A016}"/>
                </a:ext>
              </a:extLst>
            </p:cNvPr>
            <p:cNvSpPr txBox="1"/>
            <p:nvPr/>
          </p:nvSpPr>
          <p:spPr bwMode="auto">
            <a:xfrm>
              <a:off x="673100" y="2457382"/>
              <a:ext cx="3074073" cy="3915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b="1" dirty="0"/>
                <a:t>…</a:t>
              </a:r>
              <a:r>
                <a:rPr lang="zh-CN" altLang="en-US" b="1" dirty="0"/>
                <a:t>情况</a:t>
              </a:r>
              <a:endParaRPr lang="id-ID" altLang="zh-CN" b="1" dirty="0"/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082E9BA4-3342-4B26-B06F-70C98F0E187B}"/>
                </a:ext>
              </a:extLst>
            </p:cNvPr>
            <p:cNvSpPr/>
            <p:nvPr/>
          </p:nvSpPr>
          <p:spPr bwMode="auto">
            <a:xfrm>
              <a:off x="673100" y="5081307"/>
              <a:ext cx="4548383" cy="916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BBFA1B35-BF5F-4356-85C5-A96B02E3AAC9}"/>
                </a:ext>
              </a:extLst>
            </p:cNvPr>
            <p:cNvSpPr txBox="1"/>
            <p:nvPr/>
          </p:nvSpPr>
          <p:spPr bwMode="auto">
            <a:xfrm>
              <a:off x="673100" y="4689749"/>
              <a:ext cx="4548383" cy="3915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b="1" dirty="0"/>
                <a:t>…</a:t>
              </a:r>
              <a:r>
                <a:rPr lang="zh-CN" altLang="en-US" b="1" dirty="0"/>
                <a:t>情况</a:t>
              </a:r>
              <a:endParaRPr lang="id-ID" altLang="zh-CN" b="1" dirty="0"/>
            </a:p>
          </p:txBody>
        </p: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FAEF5557-26C5-487F-A6D2-0C2A2BB36D74}"/>
                </a:ext>
              </a:extLst>
            </p:cNvPr>
            <p:cNvSpPr/>
            <p:nvPr/>
          </p:nvSpPr>
          <p:spPr bwMode="auto">
            <a:xfrm>
              <a:off x="6889521" y="1534490"/>
              <a:ext cx="4640929" cy="916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88807557-09DC-46C1-9D34-73AFA131FF1C}"/>
                </a:ext>
              </a:extLst>
            </p:cNvPr>
            <p:cNvSpPr txBox="1"/>
            <p:nvPr/>
          </p:nvSpPr>
          <p:spPr bwMode="auto">
            <a:xfrm>
              <a:off x="6889521" y="1142932"/>
              <a:ext cx="4640929" cy="3915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b="1" dirty="0"/>
                <a:t>…</a:t>
              </a:r>
              <a:r>
                <a:rPr lang="zh-CN" altLang="en-US" b="1" dirty="0"/>
                <a:t>情况</a:t>
              </a:r>
              <a:endParaRPr lang="id-ID" altLang="zh-CN" b="1" dirty="0"/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6F30B71A-5B53-46BD-ABDD-8E6508033F9B}"/>
                </a:ext>
              </a:extLst>
            </p:cNvPr>
            <p:cNvSpPr/>
            <p:nvPr/>
          </p:nvSpPr>
          <p:spPr bwMode="auto">
            <a:xfrm>
              <a:off x="8211917" y="3382074"/>
              <a:ext cx="3306983" cy="916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marL="171450" indent="-171450">
                <a:lnSpc>
                  <a:spcPct val="150000"/>
                </a:lnSpc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76AE9615-9BD6-4A30-AB4F-241847B21684}"/>
                </a:ext>
              </a:extLst>
            </p:cNvPr>
            <p:cNvSpPr txBox="1"/>
            <p:nvPr/>
          </p:nvSpPr>
          <p:spPr bwMode="auto">
            <a:xfrm>
              <a:off x="8211917" y="2990516"/>
              <a:ext cx="3306983" cy="3915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b="1" dirty="0"/>
                <a:t>…</a:t>
              </a:r>
              <a:r>
                <a:rPr lang="zh-CN" altLang="en-US" b="1" dirty="0"/>
                <a:t>情况</a:t>
              </a:r>
              <a:endParaRPr lang="id-ID" altLang="zh-CN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3812240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D484210-2E8D-46EA-918C-2F049BE5EE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去年相比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BEBE919-3204-4FBC-8739-8E5A8F63977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CE50B08-FC14-499D-AC3C-0398A48E2C8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38E0749B-8DD3-4DC8-8E15-CC5F1024517C}"/>
              </a:ext>
            </a:extLst>
          </p:cNvPr>
          <p:cNvGrpSpPr/>
          <p:nvPr/>
        </p:nvGrpSpPr>
        <p:grpSpPr>
          <a:xfrm>
            <a:off x="660400" y="1130300"/>
            <a:ext cx="10858500" cy="5014087"/>
            <a:chOff x="660400" y="1130300"/>
            <a:chExt cx="10858500" cy="5014087"/>
          </a:xfrm>
        </p:grpSpPr>
        <p:sp>
          <p:nvSpPr>
            <p:cNvPr id="6" name="梯形 5">
              <a:extLst>
                <a:ext uri="{FF2B5EF4-FFF2-40B4-BE49-F238E27FC236}">
                  <a16:creationId xmlns:a16="http://schemas.microsoft.com/office/drawing/2014/main" id="{3FF9C29D-7A7F-4ADE-A367-8BA480B89E5C}"/>
                </a:ext>
              </a:extLst>
            </p:cNvPr>
            <p:cNvSpPr/>
            <p:nvPr/>
          </p:nvSpPr>
          <p:spPr>
            <a:xfrm>
              <a:off x="5448301" y="1130300"/>
              <a:ext cx="1293018" cy="281530"/>
            </a:xfrm>
            <a:prstGeom prst="trapezoid">
              <a:avLst>
                <a:gd name="adj" fmla="val 4699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梯形 6">
              <a:extLst>
                <a:ext uri="{FF2B5EF4-FFF2-40B4-BE49-F238E27FC236}">
                  <a16:creationId xmlns:a16="http://schemas.microsoft.com/office/drawing/2014/main" id="{2710D698-DB6C-4146-AB22-C4F036F735C6}"/>
                </a:ext>
              </a:extLst>
            </p:cNvPr>
            <p:cNvSpPr/>
            <p:nvPr/>
          </p:nvSpPr>
          <p:spPr>
            <a:xfrm>
              <a:off x="9226153" y="1800450"/>
              <a:ext cx="1293018" cy="281530"/>
            </a:xfrm>
            <a:prstGeom prst="trapezoid">
              <a:avLst>
                <a:gd name="adj" fmla="val 4699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梯形 7">
              <a:extLst>
                <a:ext uri="{FF2B5EF4-FFF2-40B4-BE49-F238E27FC236}">
                  <a16:creationId xmlns:a16="http://schemas.microsoft.com/office/drawing/2014/main" id="{DD53C65C-F4BD-471F-87B5-E36EBC069940}"/>
                </a:ext>
              </a:extLst>
            </p:cNvPr>
            <p:cNvSpPr/>
            <p:nvPr/>
          </p:nvSpPr>
          <p:spPr>
            <a:xfrm>
              <a:off x="1672829" y="1800450"/>
              <a:ext cx="1293018" cy="281530"/>
            </a:xfrm>
            <a:prstGeom prst="trapezoid">
              <a:avLst>
                <a:gd name="adj" fmla="val 46991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70791CC4-A78C-4D19-9118-CAE748D1BAD6}"/>
                </a:ext>
              </a:extLst>
            </p:cNvPr>
            <p:cNvSpPr/>
            <p:nvPr/>
          </p:nvSpPr>
          <p:spPr>
            <a:xfrm>
              <a:off x="8016875" y="2038574"/>
              <a:ext cx="3502025" cy="353836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b">
              <a:normAutofit/>
            </a:bodyPr>
            <a:lstStyle/>
            <a:p>
              <a:pPr algn="ctr"/>
              <a:r>
                <a:rPr lang="en-US" altLang="zh-CN" sz="1600" b="1" dirty="0">
                  <a:solidFill>
                    <a:schemeClr val="tx1"/>
                  </a:solidFill>
                </a:rPr>
                <a:t>STEP 03</a:t>
              </a:r>
            </a:p>
            <a:p>
              <a:pPr algn="ctr"/>
              <a:endParaRPr lang="en-US" altLang="zh-CN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2DA6E22B-0EAD-487C-BA52-48D38F546931}"/>
                </a:ext>
              </a:extLst>
            </p:cNvPr>
            <p:cNvSpPr/>
            <p:nvPr/>
          </p:nvSpPr>
          <p:spPr>
            <a:xfrm>
              <a:off x="660400" y="2038574"/>
              <a:ext cx="3502025" cy="353836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b">
              <a:normAutofit/>
            </a:bodyPr>
            <a:lstStyle/>
            <a:p>
              <a:pPr algn="ctr"/>
              <a:r>
                <a:rPr lang="en-US" altLang="zh-CN" sz="1600" b="1" dirty="0">
                  <a:solidFill>
                    <a:schemeClr val="tx1"/>
                  </a:solidFill>
                </a:rPr>
                <a:t>STEP 02</a:t>
              </a:r>
            </a:p>
            <a:p>
              <a:pPr algn="ctr"/>
              <a:endParaRPr lang="en-US" altLang="zh-CN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778DE911-A32E-4E49-9B71-377D1D9E00C3}"/>
                </a:ext>
              </a:extLst>
            </p:cNvPr>
            <p:cNvSpPr/>
            <p:nvPr/>
          </p:nvSpPr>
          <p:spPr>
            <a:xfrm>
              <a:off x="4162425" y="1411829"/>
              <a:ext cx="3867150" cy="4732558"/>
            </a:xfrm>
            <a:prstGeom prst="rect">
              <a:avLst/>
            </a:prstGeom>
            <a:solidFill>
              <a:schemeClr val="bg1">
                <a:lumMod val="85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b" anchorCtr="0">
              <a:normAutofit/>
            </a:bodyPr>
            <a:lstStyle/>
            <a:p>
              <a:pPr algn="ctr"/>
              <a:r>
                <a:rPr lang="en-US" sz="2000" b="1" dirty="0">
                  <a:solidFill>
                    <a:schemeClr val="accent1"/>
                  </a:solidFill>
                </a:rPr>
                <a:t>STEP 01</a:t>
              </a:r>
            </a:p>
            <a:p>
              <a:pPr algn="ctr"/>
              <a:endParaRPr lang="en-US" sz="1100" b="1" dirty="0">
                <a:solidFill>
                  <a:schemeClr val="accent1"/>
                </a:solidFill>
              </a:endParaRPr>
            </a:p>
          </p:txBody>
        </p:sp>
        <p:sp>
          <p:nvSpPr>
            <p:cNvPr id="12" name="矩形: 圆顶角 11">
              <a:extLst>
                <a:ext uri="{FF2B5EF4-FFF2-40B4-BE49-F238E27FC236}">
                  <a16:creationId xmlns:a16="http://schemas.microsoft.com/office/drawing/2014/main" id="{1A2608BD-62D5-4A3C-9F3E-F86318FE15AB}"/>
                </a:ext>
              </a:extLst>
            </p:cNvPr>
            <p:cNvSpPr/>
            <p:nvPr/>
          </p:nvSpPr>
          <p:spPr>
            <a:xfrm>
              <a:off x="5581650" y="1130300"/>
              <a:ext cx="1028700" cy="1028700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AA435C03-C3E0-43A1-8766-960F1B7757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3515" y="1428969"/>
              <a:ext cx="424971" cy="431365"/>
            </a:xfrm>
            <a:custGeom>
              <a:avLst/>
              <a:gdLst>
                <a:gd name="connsiteX0" fmla="*/ 221980 w 592223"/>
                <a:gd name="connsiteY0" fmla="*/ 389269 h 601134"/>
                <a:gd name="connsiteX1" fmla="*/ 206643 w 592223"/>
                <a:gd name="connsiteY1" fmla="*/ 390881 h 601134"/>
                <a:gd name="connsiteX2" fmla="*/ 139645 w 592223"/>
                <a:gd name="connsiteY2" fmla="*/ 469057 h 601134"/>
                <a:gd name="connsiteX3" fmla="*/ 98478 w 592223"/>
                <a:gd name="connsiteY3" fmla="*/ 438431 h 601134"/>
                <a:gd name="connsiteX4" fmla="*/ 83142 w 592223"/>
                <a:gd name="connsiteY4" fmla="*/ 440043 h 601134"/>
                <a:gd name="connsiteX5" fmla="*/ 85563 w 592223"/>
                <a:gd name="connsiteY5" fmla="*/ 455356 h 601134"/>
                <a:gd name="connsiteX6" fmla="*/ 134802 w 592223"/>
                <a:gd name="connsiteY6" fmla="*/ 492429 h 601134"/>
                <a:gd name="connsiteX7" fmla="*/ 141260 w 592223"/>
                <a:gd name="connsiteY7" fmla="*/ 494041 h 601134"/>
                <a:gd name="connsiteX8" fmla="*/ 149332 w 592223"/>
                <a:gd name="connsiteY8" fmla="*/ 490817 h 601134"/>
                <a:gd name="connsiteX9" fmla="*/ 222787 w 592223"/>
                <a:gd name="connsiteY9" fmla="*/ 404581 h 601134"/>
                <a:gd name="connsiteX10" fmla="*/ 221980 w 592223"/>
                <a:gd name="connsiteY10" fmla="*/ 389269 h 601134"/>
                <a:gd name="connsiteX11" fmla="*/ 439075 w 592223"/>
                <a:gd name="connsiteY11" fmla="*/ 344088 h 601134"/>
                <a:gd name="connsiteX12" fmla="*/ 344643 w 592223"/>
                <a:gd name="connsiteY12" fmla="*/ 438365 h 601134"/>
                <a:gd name="connsiteX13" fmla="*/ 439075 w 592223"/>
                <a:gd name="connsiteY13" fmla="*/ 532642 h 601134"/>
                <a:gd name="connsiteX14" fmla="*/ 534313 w 592223"/>
                <a:gd name="connsiteY14" fmla="*/ 438365 h 601134"/>
                <a:gd name="connsiteX15" fmla="*/ 439075 w 592223"/>
                <a:gd name="connsiteY15" fmla="*/ 344088 h 601134"/>
                <a:gd name="connsiteX16" fmla="*/ 439075 w 592223"/>
                <a:gd name="connsiteY16" fmla="*/ 322332 h 601134"/>
                <a:gd name="connsiteX17" fmla="*/ 555298 w 592223"/>
                <a:gd name="connsiteY17" fmla="*/ 438365 h 601134"/>
                <a:gd name="connsiteX18" fmla="*/ 525435 w 592223"/>
                <a:gd name="connsiteY18" fmla="*/ 516527 h 601134"/>
                <a:gd name="connsiteX19" fmla="*/ 589197 w 592223"/>
                <a:gd name="connsiteY19" fmla="*/ 583407 h 601134"/>
                <a:gd name="connsiteX20" fmla="*/ 589197 w 592223"/>
                <a:gd name="connsiteY20" fmla="*/ 598717 h 601134"/>
                <a:gd name="connsiteX21" fmla="*/ 581933 w 592223"/>
                <a:gd name="connsiteY21" fmla="*/ 601134 h 601134"/>
                <a:gd name="connsiteX22" fmla="*/ 573861 w 592223"/>
                <a:gd name="connsiteY22" fmla="*/ 597911 h 601134"/>
                <a:gd name="connsiteX23" fmla="*/ 509293 w 592223"/>
                <a:gd name="connsiteY23" fmla="*/ 531031 h 601134"/>
                <a:gd name="connsiteX24" fmla="*/ 439075 w 592223"/>
                <a:gd name="connsiteY24" fmla="*/ 554399 h 601134"/>
                <a:gd name="connsiteX25" fmla="*/ 322851 w 592223"/>
                <a:gd name="connsiteY25" fmla="*/ 438365 h 601134"/>
                <a:gd name="connsiteX26" fmla="*/ 439075 w 592223"/>
                <a:gd name="connsiteY26" fmla="*/ 322332 h 601134"/>
                <a:gd name="connsiteX27" fmla="*/ 221980 w 592223"/>
                <a:gd name="connsiteY27" fmla="*/ 228081 h 601134"/>
                <a:gd name="connsiteX28" fmla="*/ 206643 w 592223"/>
                <a:gd name="connsiteY28" fmla="*/ 229693 h 601134"/>
                <a:gd name="connsiteX29" fmla="*/ 139645 w 592223"/>
                <a:gd name="connsiteY29" fmla="*/ 307869 h 601134"/>
                <a:gd name="connsiteX30" fmla="*/ 98478 w 592223"/>
                <a:gd name="connsiteY30" fmla="*/ 277243 h 601134"/>
                <a:gd name="connsiteX31" fmla="*/ 83142 w 592223"/>
                <a:gd name="connsiteY31" fmla="*/ 278855 h 601134"/>
                <a:gd name="connsiteX32" fmla="*/ 85563 w 592223"/>
                <a:gd name="connsiteY32" fmla="*/ 294168 h 601134"/>
                <a:gd name="connsiteX33" fmla="*/ 134802 w 592223"/>
                <a:gd name="connsiteY33" fmla="*/ 331241 h 601134"/>
                <a:gd name="connsiteX34" fmla="*/ 141260 w 592223"/>
                <a:gd name="connsiteY34" fmla="*/ 332853 h 601134"/>
                <a:gd name="connsiteX35" fmla="*/ 149332 w 592223"/>
                <a:gd name="connsiteY35" fmla="*/ 329629 h 601134"/>
                <a:gd name="connsiteX36" fmla="*/ 222787 w 592223"/>
                <a:gd name="connsiteY36" fmla="*/ 243394 h 601134"/>
                <a:gd name="connsiteX37" fmla="*/ 221980 w 592223"/>
                <a:gd name="connsiteY37" fmla="*/ 228081 h 601134"/>
                <a:gd name="connsiteX38" fmla="*/ 290592 w 592223"/>
                <a:gd name="connsiteY38" fmla="*/ 128950 h 601134"/>
                <a:gd name="connsiteX39" fmla="*/ 280098 w 592223"/>
                <a:gd name="connsiteY39" fmla="*/ 139428 h 601134"/>
                <a:gd name="connsiteX40" fmla="*/ 290592 w 592223"/>
                <a:gd name="connsiteY40" fmla="*/ 150711 h 601134"/>
                <a:gd name="connsiteX41" fmla="*/ 484319 w 592223"/>
                <a:gd name="connsiteY41" fmla="*/ 150711 h 601134"/>
                <a:gd name="connsiteX42" fmla="*/ 495620 w 592223"/>
                <a:gd name="connsiteY42" fmla="*/ 139428 h 601134"/>
                <a:gd name="connsiteX43" fmla="*/ 484319 w 592223"/>
                <a:gd name="connsiteY43" fmla="*/ 128950 h 601134"/>
                <a:gd name="connsiteX44" fmla="*/ 221980 w 592223"/>
                <a:gd name="connsiteY44" fmla="*/ 78176 h 601134"/>
                <a:gd name="connsiteX45" fmla="*/ 206643 w 592223"/>
                <a:gd name="connsiteY45" fmla="*/ 78982 h 601134"/>
                <a:gd name="connsiteX46" fmla="*/ 139645 w 592223"/>
                <a:gd name="connsiteY46" fmla="*/ 157158 h 601134"/>
                <a:gd name="connsiteX47" fmla="*/ 98478 w 592223"/>
                <a:gd name="connsiteY47" fmla="*/ 126533 h 601134"/>
                <a:gd name="connsiteX48" fmla="*/ 83142 w 592223"/>
                <a:gd name="connsiteY48" fmla="*/ 128950 h 601134"/>
                <a:gd name="connsiteX49" fmla="*/ 85563 w 592223"/>
                <a:gd name="connsiteY49" fmla="*/ 143457 h 601134"/>
                <a:gd name="connsiteX50" fmla="*/ 134802 w 592223"/>
                <a:gd name="connsiteY50" fmla="*/ 180530 h 601134"/>
                <a:gd name="connsiteX51" fmla="*/ 141260 w 592223"/>
                <a:gd name="connsiteY51" fmla="*/ 182948 h 601134"/>
                <a:gd name="connsiteX52" fmla="*/ 149332 w 592223"/>
                <a:gd name="connsiteY52" fmla="*/ 178919 h 601134"/>
                <a:gd name="connsiteX53" fmla="*/ 222787 w 592223"/>
                <a:gd name="connsiteY53" fmla="*/ 92683 h 601134"/>
                <a:gd name="connsiteX54" fmla="*/ 221980 w 592223"/>
                <a:gd name="connsiteY54" fmla="*/ 78176 h 601134"/>
                <a:gd name="connsiteX55" fmla="*/ 131573 w 592223"/>
                <a:gd name="connsiteY55" fmla="*/ 0 h 601134"/>
                <a:gd name="connsiteX56" fmla="*/ 450417 w 592223"/>
                <a:gd name="connsiteY56" fmla="*/ 0 h 601134"/>
                <a:gd name="connsiteX57" fmla="*/ 581183 w 592223"/>
                <a:gd name="connsiteY57" fmla="*/ 130562 h 601134"/>
                <a:gd name="connsiteX58" fmla="*/ 581183 w 592223"/>
                <a:gd name="connsiteY58" fmla="*/ 395716 h 601134"/>
                <a:gd name="connsiteX59" fmla="*/ 489970 w 592223"/>
                <a:gd name="connsiteY59" fmla="*/ 299003 h 601134"/>
                <a:gd name="connsiteX60" fmla="*/ 495620 w 592223"/>
                <a:gd name="connsiteY60" fmla="*/ 290138 h 601134"/>
                <a:gd name="connsiteX61" fmla="*/ 484319 w 592223"/>
                <a:gd name="connsiteY61" fmla="*/ 279661 h 601134"/>
                <a:gd name="connsiteX62" fmla="*/ 290592 w 592223"/>
                <a:gd name="connsiteY62" fmla="*/ 279661 h 601134"/>
                <a:gd name="connsiteX63" fmla="*/ 280098 w 592223"/>
                <a:gd name="connsiteY63" fmla="*/ 290138 h 601134"/>
                <a:gd name="connsiteX64" fmla="*/ 290592 w 592223"/>
                <a:gd name="connsiteY64" fmla="*/ 300615 h 601134"/>
                <a:gd name="connsiteX65" fmla="*/ 384227 w 592223"/>
                <a:gd name="connsiteY65" fmla="*/ 300615 h 601134"/>
                <a:gd name="connsiteX66" fmla="*/ 290592 w 592223"/>
                <a:gd name="connsiteY66" fmla="*/ 438431 h 601134"/>
                <a:gd name="connsiteX67" fmla="*/ 291399 w 592223"/>
                <a:gd name="connsiteY67" fmla="*/ 440849 h 601134"/>
                <a:gd name="connsiteX68" fmla="*/ 290592 w 592223"/>
                <a:gd name="connsiteY68" fmla="*/ 440849 h 601134"/>
                <a:gd name="connsiteX69" fmla="*/ 293013 w 592223"/>
                <a:gd name="connsiteY69" fmla="*/ 461803 h 601134"/>
                <a:gd name="connsiteX70" fmla="*/ 396335 w 592223"/>
                <a:gd name="connsiteY70" fmla="*/ 580276 h 601134"/>
                <a:gd name="connsiteX71" fmla="*/ 131573 w 592223"/>
                <a:gd name="connsiteY71" fmla="*/ 580276 h 601134"/>
                <a:gd name="connsiteX72" fmla="*/ 0 w 592223"/>
                <a:gd name="connsiteY72" fmla="*/ 449714 h 601134"/>
                <a:gd name="connsiteX73" fmla="*/ 0 w 592223"/>
                <a:gd name="connsiteY73" fmla="*/ 130562 h 601134"/>
                <a:gd name="connsiteX74" fmla="*/ 131573 w 592223"/>
                <a:gd name="connsiteY74" fmla="*/ 0 h 601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592223" h="601134">
                  <a:moveTo>
                    <a:pt x="221980" y="389269"/>
                  </a:moveTo>
                  <a:cubicBezTo>
                    <a:pt x="217136" y="385239"/>
                    <a:pt x="210679" y="386045"/>
                    <a:pt x="206643" y="390881"/>
                  </a:cubicBezTo>
                  <a:lnTo>
                    <a:pt x="139645" y="469057"/>
                  </a:lnTo>
                  <a:lnTo>
                    <a:pt x="98478" y="438431"/>
                  </a:lnTo>
                  <a:cubicBezTo>
                    <a:pt x="93635" y="434401"/>
                    <a:pt x="87178" y="435207"/>
                    <a:pt x="83142" y="440043"/>
                  </a:cubicBezTo>
                  <a:cubicBezTo>
                    <a:pt x="79913" y="444878"/>
                    <a:pt x="80720" y="452132"/>
                    <a:pt x="85563" y="455356"/>
                  </a:cubicBezTo>
                  <a:lnTo>
                    <a:pt x="134802" y="492429"/>
                  </a:lnTo>
                  <a:cubicBezTo>
                    <a:pt x="136417" y="493235"/>
                    <a:pt x="138838" y="494041"/>
                    <a:pt x="141260" y="494041"/>
                  </a:cubicBezTo>
                  <a:cubicBezTo>
                    <a:pt x="143681" y="494041"/>
                    <a:pt x="146910" y="493235"/>
                    <a:pt x="149332" y="490817"/>
                  </a:cubicBezTo>
                  <a:lnTo>
                    <a:pt x="222787" y="404581"/>
                  </a:lnTo>
                  <a:cubicBezTo>
                    <a:pt x="226823" y="399746"/>
                    <a:pt x="226016" y="393298"/>
                    <a:pt x="221980" y="389269"/>
                  </a:cubicBezTo>
                  <a:close/>
                  <a:moveTo>
                    <a:pt x="439075" y="344088"/>
                  </a:moveTo>
                  <a:cubicBezTo>
                    <a:pt x="387420" y="344088"/>
                    <a:pt x="344643" y="385989"/>
                    <a:pt x="344643" y="438365"/>
                  </a:cubicBezTo>
                  <a:cubicBezTo>
                    <a:pt x="344643" y="490741"/>
                    <a:pt x="387420" y="532642"/>
                    <a:pt x="439075" y="532642"/>
                  </a:cubicBezTo>
                  <a:cubicBezTo>
                    <a:pt x="491537" y="532642"/>
                    <a:pt x="534313" y="490741"/>
                    <a:pt x="534313" y="438365"/>
                  </a:cubicBezTo>
                  <a:cubicBezTo>
                    <a:pt x="534313" y="385989"/>
                    <a:pt x="491537" y="344088"/>
                    <a:pt x="439075" y="344088"/>
                  </a:cubicBezTo>
                  <a:close/>
                  <a:moveTo>
                    <a:pt x="439075" y="322332"/>
                  </a:moveTo>
                  <a:cubicBezTo>
                    <a:pt x="503643" y="322332"/>
                    <a:pt x="555298" y="374708"/>
                    <a:pt x="555298" y="438365"/>
                  </a:cubicBezTo>
                  <a:cubicBezTo>
                    <a:pt x="555298" y="468179"/>
                    <a:pt x="543999" y="495576"/>
                    <a:pt x="525435" y="516527"/>
                  </a:cubicBezTo>
                  <a:lnTo>
                    <a:pt x="589197" y="583407"/>
                  </a:lnTo>
                  <a:cubicBezTo>
                    <a:pt x="593232" y="587436"/>
                    <a:pt x="593232" y="594688"/>
                    <a:pt x="589197" y="598717"/>
                  </a:cubicBezTo>
                  <a:cubicBezTo>
                    <a:pt x="586775" y="600328"/>
                    <a:pt x="584354" y="601134"/>
                    <a:pt x="581933" y="601134"/>
                  </a:cubicBezTo>
                  <a:cubicBezTo>
                    <a:pt x="578704" y="601134"/>
                    <a:pt x="576283" y="600328"/>
                    <a:pt x="573861" y="597911"/>
                  </a:cubicBezTo>
                  <a:lnTo>
                    <a:pt x="509293" y="531031"/>
                  </a:lnTo>
                  <a:cubicBezTo>
                    <a:pt x="489922" y="545535"/>
                    <a:pt x="465709" y="554399"/>
                    <a:pt x="439075" y="554399"/>
                  </a:cubicBezTo>
                  <a:cubicBezTo>
                    <a:pt x="375313" y="554399"/>
                    <a:pt x="322851" y="502022"/>
                    <a:pt x="322851" y="438365"/>
                  </a:cubicBezTo>
                  <a:cubicBezTo>
                    <a:pt x="322851" y="374708"/>
                    <a:pt x="375313" y="322332"/>
                    <a:pt x="439075" y="322332"/>
                  </a:cubicBezTo>
                  <a:close/>
                  <a:moveTo>
                    <a:pt x="221980" y="228081"/>
                  </a:moveTo>
                  <a:cubicBezTo>
                    <a:pt x="217136" y="224051"/>
                    <a:pt x="210679" y="224857"/>
                    <a:pt x="206643" y="229693"/>
                  </a:cubicBezTo>
                  <a:lnTo>
                    <a:pt x="139645" y="307869"/>
                  </a:lnTo>
                  <a:lnTo>
                    <a:pt x="98478" y="277243"/>
                  </a:lnTo>
                  <a:cubicBezTo>
                    <a:pt x="93635" y="273213"/>
                    <a:pt x="87178" y="274019"/>
                    <a:pt x="83142" y="278855"/>
                  </a:cubicBezTo>
                  <a:cubicBezTo>
                    <a:pt x="79913" y="283691"/>
                    <a:pt x="80720" y="290944"/>
                    <a:pt x="85563" y="294168"/>
                  </a:cubicBezTo>
                  <a:lnTo>
                    <a:pt x="134802" y="331241"/>
                  </a:lnTo>
                  <a:cubicBezTo>
                    <a:pt x="136417" y="332047"/>
                    <a:pt x="138838" y="332853"/>
                    <a:pt x="141260" y="332853"/>
                  </a:cubicBezTo>
                  <a:cubicBezTo>
                    <a:pt x="143681" y="332853"/>
                    <a:pt x="146910" y="332047"/>
                    <a:pt x="149332" y="329629"/>
                  </a:cubicBezTo>
                  <a:lnTo>
                    <a:pt x="222787" y="243394"/>
                  </a:lnTo>
                  <a:cubicBezTo>
                    <a:pt x="226823" y="238558"/>
                    <a:pt x="226016" y="232111"/>
                    <a:pt x="221980" y="228081"/>
                  </a:cubicBezTo>
                  <a:close/>
                  <a:moveTo>
                    <a:pt x="290592" y="128950"/>
                  </a:moveTo>
                  <a:cubicBezTo>
                    <a:pt x="284941" y="128950"/>
                    <a:pt x="280098" y="133786"/>
                    <a:pt x="280098" y="139428"/>
                  </a:cubicBezTo>
                  <a:cubicBezTo>
                    <a:pt x="280098" y="145875"/>
                    <a:pt x="284941" y="150711"/>
                    <a:pt x="290592" y="150711"/>
                  </a:cubicBezTo>
                  <a:lnTo>
                    <a:pt x="484319" y="150711"/>
                  </a:lnTo>
                  <a:cubicBezTo>
                    <a:pt x="490777" y="150711"/>
                    <a:pt x="495620" y="145875"/>
                    <a:pt x="495620" y="139428"/>
                  </a:cubicBezTo>
                  <a:cubicBezTo>
                    <a:pt x="495620" y="133786"/>
                    <a:pt x="490777" y="128950"/>
                    <a:pt x="484319" y="128950"/>
                  </a:cubicBezTo>
                  <a:close/>
                  <a:moveTo>
                    <a:pt x="221980" y="78176"/>
                  </a:moveTo>
                  <a:cubicBezTo>
                    <a:pt x="217136" y="74147"/>
                    <a:pt x="210679" y="74147"/>
                    <a:pt x="206643" y="78982"/>
                  </a:cubicBezTo>
                  <a:lnTo>
                    <a:pt x="139645" y="157158"/>
                  </a:lnTo>
                  <a:lnTo>
                    <a:pt x="98478" y="126533"/>
                  </a:lnTo>
                  <a:cubicBezTo>
                    <a:pt x="93635" y="123309"/>
                    <a:pt x="87178" y="124115"/>
                    <a:pt x="83142" y="128950"/>
                  </a:cubicBezTo>
                  <a:cubicBezTo>
                    <a:pt x="79913" y="133786"/>
                    <a:pt x="80720" y="140233"/>
                    <a:pt x="85563" y="143457"/>
                  </a:cubicBezTo>
                  <a:lnTo>
                    <a:pt x="134802" y="180530"/>
                  </a:lnTo>
                  <a:cubicBezTo>
                    <a:pt x="136417" y="182142"/>
                    <a:pt x="138838" y="182948"/>
                    <a:pt x="141260" y="182948"/>
                  </a:cubicBezTo>
                  <a:cubicBezTo>
                    <a:pt x="143681" y="182948"/>
                    <a:pt x="146910" y="181336"/>
                    <a:pt x="149332" y="178919"/>
                  </a:cubicBezTo>
                  <a:lnTo>
                    <a:pt x="222787" y="92683"/>
                  </a:lnTo>
                  <a:cubicBezTo>
                    <a:pt x="226823" y="88653"/>
                    <a:pt x="226016" y="81400"/>
                    <a:pt x="221980" y="78176"/>
                  </a:cubicBezTo>
                  <a:close/>
                  <a:moveTo>
                    <a:pt x="131573" y="0"/>
                  </a:moveTo>
                  <a:lnTo>
                    <a:pt x="450417" y="0"/>
                  </a:lnTo>
                  <a:cubicBezTo>
                    <a:pt x="523065" y="0"/>
                    <a:pt x="581183" y="58834"/>
                    <a:pt x="581183" y="130562"/>
                  </a:cubicBezTo>
                  <a:lnTo>
                    <a:pt x="581183" y="395716"/>
                  </a:lnTo>
                  <a:cubicBezTo>
                    <a:pt x="568268" y="350584"/>
                    <a:pt x="533558" y="315122"/>
                    <a:pt x="489970" y="299003"/>
                  </a:cubicBezTo>
                  <a:cubicBezTo>
                    <a:pt x="493198" y="297392"/>
                    <a:pt x="495620" y="294168"/>
                    <a:pt x="495620" y="290138"/>
                  </a:cubicBezTo>
                  <a:cubicBezTo>
                    <a:pt x="495620" y="284497"/>
                    <a:pt x="490777" y="279661"/>
                    <a:pt x="484319" y="279661"/>
                  </a:cubicBezTo>
                  <a:lnTo>
                    <a:pt x="290592" y="279661"/>
                  </a:lnTo>
                  <a:cubicBezTo>
                    <a:pt x="284941" y="279661"/>
                    <a:pt x="280098" y="284497"/>
                    <a:pt x="280098" y="290138"/>
                  </a:cubicBezTo>
                  <a:cubicBezTo>
                    <a:pt x="280098" y="295780"/>
                    <a:pt x="284941" y="300615"/>
                    <a:pt x="290592" y="300615"/>
                  </a:cubicBezTo>
                  <a:lnTo>
                    <a:pt x="384227" y="300615"/>
                  </a:lnTo>
                  <a:cubicBezTo>
                    <a:pt x="329337" y="323182"/>
                    <a:pt x="290592" y="376374"/>
                    <a:pt x="290592" y="438431"/>
                  </a:cubicBezTo>
                  <a:cubicBezTo>
                    <a:pt x="290592" y="439237"/>
                    <a:pt x="291399" y="440043"/>
                    <a:pt x="291399" y="440849"/>
                  </a:cubicBezTo>
                  <a:lnTo>
                    <a:pt x="290592" y="440849"/>
                  </a:lnTo>
                  <a:cubicBezTo>
                    <a:pt x="290592" y="448908"/>
                    <a:pt x="293013" y="461803"/>
                    <a:pt x="293013" y="461803"/>
                  </a:cubicBezTo>
                  <a:cubicBezTo>
                    <a:pt x="301892" y="518219"/>
                    <a:pt x="343059" y="564157"/>
                    <a:pt x="396335" y="580276"/>
                  </a:cubicBezTo>
                  <a:lnTo>
                    <a:pt x="131573" y="580276"/>
                  </a:lnTo>
                  <a:cubicBezTo>
                    <a:pt x="58926" y="580276"/>
                    <a:pt x="0" y="521443"/>
                    <a:pt x="0" y="449714"/>
                  </a:cubicBezTo>
                  <a:lnTo>
                    <a:pt x="0" y="130562"/>
                  </a:lnTo>
                  <a:cubicBezTo>
                    <a:pt x="0" y="58834"/>
                    <a:pt x="58926" y="0"/>
                    <a:pt x="13157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4" name="矩形: 圆顶角 13">
              <a:extLst>
                <a:ext uri="{FF2B5EF4-FFF2-40B4-BE49-F238E27FC236}">
                  <a16:creationId xmlns:a16="http://schemas.microsoft.com/office/drawing/2014/main" id="{FF24B3D5-4B84-4781-AF56-3506EC792602}"/>
                </a:ext>
              </a:extLst>
            </p:cNvPr>
            <p:cNvSpPr/>
            <p:nvPr/>
          </p:nvSpPr>
          <p:spPr>
            <a:xfrm>
              <a:off x="9358312" y="1800450"/>
              <a:ext cx="1028700" cy="1028700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51D15296-412D-41F5-A7CB-45FE83E546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60176" y="2098616"/>
              <a:ext cx="424971" cy="431365"/>
            </a:xfrm>
            <a:custGeom>
              <a:avLst/>
              <a:gdLst>
                <a:gd name="connsiteX0" fmla="*/ 221980 w 592223"/>
                <a:gd name="connsiteY0" fmla="*/ 389269 h 601134"/>
                <a:gd name="connsiteX1" fmla="*/ 206643 w 592223"/>
                <a:gd name="connsiteY1" fmla="*/ 390881 h 601134"/>
                <a:gd name="connsiteX2" fmla="*/ 139645 w 592223"/>
                <a:gd name="connsiteY2" fmla="*/ 469057 h 601134"/>
                <a:gd name="connsiteX3" fmla="*/ 98478 w 592223"/>
                <a:gd name="connsiteY3" fmla="*/ 438431 h 601134"/>
                <a:gd name="connsiteX4" fmla="*/ 83142 w 592223"/>
                <a:gd name="connsiteY4" fmla="*/ 440043 h 601134"/>
                <a:gd name="connsiteX5" fmla="*/ 85563 w 592223"/>
                <a:gd name="connsiteY5" fmla="*/ 455356 h 601134"/>
                <a:gd name="connsiteX6" fmla="*/ 134802 w 592223"/>
                <a:gd name="connsiteY6" fmla="*/ 492429 h 601134"/>
                <a:gd name="connsiteX7" fmla="*/ 141260 w 592223"/>
                <a:gd name="connsiteY7" fmla="*/ 494041 h 601134"/>
                <a:gd name="connsiteX8" fmla="*/ 149332 w 592223"/>
                <a:gd name="connsiteY8" fmla="*/ 490817 h 601134"/>
                <a:gd name="connsiteX9" fmla="*/ 222787 w 592223"/>
                <a:gd name="connsiteY9" fmla="*/ 404581 h 601134"/>
                <a:gd name="connsiteX10" fmla="*/ 221980 w 592223"/>
                <a:gd name="connsiteY10" fmla="*/ 389269 h 601134"/>
                <a:gd name="connsiteX11" fmla="*/ 439075 w 592223"/>
                <a:gd name="connsiteY11" fmla="*/ 344088 h 601134"/>
                <a:gd name="connsiteX12" fmla="*/ 344643 w 592223"/>
                <a:gd name="connsiteY12" fmla="*/ 438365 h 601134"/>
                <a:gd name="connsiteX13" fmla="*/ 439075 w 592223"/>
                <a:gd name="connsiteY13" fmla="*/ 532642 h 601134"/>
                <a:gd name="connsiteX14" fmla="*/ 534313 w 592223"/>
                <a:gd name="connsiteY14" fmla="*/ 438365 h 601134"/>
                <a:gd name="connsiteX15" fmla="*/ 439075 w 592223"/>
                <a:gd name="connsiteY15" fmla="*/ 344088 h 601134"/>
                <a:gd name="connsiteX16" fmla="*/ 439075 w 592223"/>
                <a:gd name="connsiteY16" fmla="*/ 322332 h 601134"/>
                <a:gd name="connsiteX17" fmla="*/ 555298 w 592223"/>
                <a:gd name="connsiteY17" fmla="*/ 438365 h 601134"/>
                <a:gd name="connsiteX18" fmla="*/ 525435 w 592223"/>
                <a:gd name="connsiteY18" fmla="*/ 516527 h 601134"/>
                <a:gd name="connsiteX19" fmla="*/ 589197 w 592223"/>
                <a:gd name="connsiteY19" fmla="*/ 583407 h 601134"/>
                <a:gd name="connsiteX20" fmla="*/ 589197 w 592223"/>
                <a:gd name="connsiteY20" fmla="*/ 598717 h 601134"/>
                <a:gd name="connsiteX21" fmla="*/ 581933 w 592223"/>
                <a:gd name="connsiteY21" fmla="*/ 601134 h 601134"/>
                <a:gd name="connsiteX22" fmla="*/ 573861 w 592223"/>
                <a:gd name="connsiteY22" fmla="*/ 597911 h 601134"/>
                <a:gd name="connsiteX23" fmla="*/ 509293 w 592223"/>
                <a:gd name="connsiteY23" fmla="*/ 531031 h 601134"/>
                <a:gd name="connsiteX24" fmla="*/ 439075 w 592223"/>
                <a:gd name="connsiteY24" fmla="*/ 554399 h 601134"/>
                <a:gd name="connsiteX25" fmla="*/ 322851 w 592223"/>
                <a:gd name="connsiteY25" fmla="*/ 438365 h 601134"/>
                <a:gd name="connsiteX26" fmla="*/ 439075 w 592223"/>
                <a:gd name="connsiteY26" fmla="*/ 322332 h 601134"/>
                <a:gd name="connsiteX27" fmla="*/ 221980 w 592223"/>
                <a:gd name="connsiteY27" fmla="*/ 228081 h 601134"/>
                <a:gd name="connsiteX28" fmla="*/ 206643 w 592223"/>
                <a:gd name="connsiteY28" fmla="*/ 229693 h 601134"/>
                <a:gd name="connsiteX29" fmla="*/ 139645 w 592223"/>
                <a:gd name="connsiteY29" fmla="*/ 307869 h 601134"/>
                <a:gd name="connsiteX30" fmla="*/ 98478 w 592223"/>
                <a:gd name="connsiteY30" fmla="*/ 277243 h 601134"/>
                <a:gd name="connsiteX31" fmla="*/ 83142 w 592223"/>
                <a:gd name="connsiteY31" fmla="*/ 278855 h 601134"/>
                <a:gd name="connsiteX32" fmla="*/ 85563 w 592223"/>
                <a:gd name="connsiteY32" fmla="*/ 294168 h 601134"/>
                <a:gd name="connsiteX33" fmla="*/ 134802 w 592223"/>
                <a:gd name="connsiteY33" fmla="*/ 331241 h 601134"/>
                <a:gd name="connsiteX34" fmla="*/ 141260 w 592223"/>
                <a:gd name="connsiteY34" fmla="*/ 332853 h 601134"/>
                <a:gd name="connsiteX35" fmla="*/ 149332 w 592223"/>
                <a:gd name="connsiteY35" fmla="*/ 329629 h 601134"/>
                <a:gd name="connsiteX36" fmla="*/ 222787 w 592223"/>
                <a:gd name="connsiteY36" fmla="*/ 243394 h 601134"/>
                <a:gd name="connsiteX37" fmla="*/ 221980 w 592223"/>
                <a:gd name="connsiteY37" fmla="*/ 228081 h 601134"/>
                <a:gd name="connsiteX38" fmla="*/ 290592 w 592223"/>
                <a:gd name="connsiteY38" fmla="*/ 128950 h 601134"/>
                <a:gd name="connsiteX39" fmla="*/ 280098 w 592223"/>
                <a:gd name="connsiteY39" fmla="*/ 139428 h 601134"/>
                <a:gd name="connsiteX40" fmla="*/ 290592 w 592223"/>
                <a:gd name="connsiteY40" fmla="*/ 150711 h 601134"/>
                <a:gd name="connsiteX41" fmla="*/ 484319 w 592223"/>
                <a:gd name="connsiteY41" fmla="*/ 150711 h 601134"/>
                <a:gd name="connsiteX42" fmla="*/ 495620 w 592223"/>
                <a:gd name="connsiteY42" fmla="*/ 139428 h 601134"/>
                <a:gd name="connsiteX43" fmla="*/ 484319 w 592223"/>
                <a:gd name="connsiteY43" fmla="*/ 128950 h 601134"/>
                <a:gd name="connsiteX44" fmla="*/ 221980 w 592223"/>
                <a:gd name="connsiteY44" fmla="*/ 78176 h 601134"/>
                <a:gd name="connsiteX45" fmla="*/ 206643 w 592223"/>
                <a:gd name="connsiteY45" fmla="*/ 78982 h 601134"/>
                <a:gd name="connsiteX46" fmla="*/ 139645 w 592223"/>
                <a:gd name="connsiteY46" fmla="*/ 157158 h 601134"/>
                <a:gd name="connsiteX47" fmla="*/ 98478 w 592223"/>
                <a:gd name="connsiteY47" fmla="*/ 126533 h 601134"/>
                <a:gd name="connsiteX48" fmla="*/ 83142 w 592223"/>
                <a:gd name="connsiteY48" fmla="*/ 128950 h 601134"/>
                <a:gd name="connsiteX49" fmla="*/ 85563 w 592223"/>
                <a:gd name="connsiteY49" fmla="*/ 143457 h 601134"/>
                <a:gd name="connsiteX50" fmla="*/ 134802 w 592223"/>
                <a:gd name="connsiteY50" fmla="*/ 180530 h 601134"/>
                <a:gd name="connsiteX51" fmla="*/ 141260 w 592223"/>
                <a:gd name="connsiteY51" fmla="*/ 182948 h 601134"/>
                <a:gd name="connsiteX52" fmla="*/ 149332 w 592223"/>
                <a:gd name="connsiteY52" fmla="*/ 178919 h 601134"/>
                <a:gd name="connsiteX53" fmla="*/ 222787 w 592223"/>
                <a:gd name="connsiteY53" fmla="*/ 92683 h 601134"/>
                <a:gd name="connsiteX54" fmla="*/ 221980 w 592223"/>
                <a:gd name="connsiteY54" fmla="*/ 78176 h 601134"/>
                <a:gd name="connsiteX55" fmla="*/ 131573 w 592223"/>
                <a:gd name="connsiteY55" fmla="*/ 0 h 601134"/>
                <a:gd name="connsiteX56" fmla="*/ 450417 w 592223"/>
                <a:gd name="connsiteY56" fmla="*/ 0 h 601134"/>
                <a:gd name="connsiteX57" fmla="*/ 581183 w 592223"/>
                <a:gd name="connsiteY57" fmla="*/ 130562 h 601134"/>
                <a:gd name="connsiteX58" fmla="*/ 581183 w 592223"/>
                <a:gd name="connsiteY58" fmla="*/ 395716 h 601134"/>
                <a:gd name="connsiteX59" fmla="*/ 489970 w 592223"/>
                <a:gd name="connsiteY59" fmla="*/ 299003 h 601134"/>
                <a:gd name="connsiteX60" fmla="*/ 495620 w 592223"/>
                <a:gd name="connsiteY60" fmla="*/ 290138 h 601134"/>
                <a:gd name="connsiteX61" fmla="*/ 484319 w 592223"/>
                <a:gd name="connsiteY61" fmla="*/ 279661 h 601134"/>
                <a:gd name="connsiteX62" fmla="*/ 290592 w 592223"/>
                <a:gd name="connsiteY62" fmla="*/ 279661 h 601134"/>
                <a:gd name="connsiteX63" fmla="*/ 280098 w 592223"/>
                <a:gd name="connsiteY63" fmla="*/ 290138 h 601134"/>
                <a:gd name="connsiteX64" fmla="*/ 290592 w 592223"/>
                <a:gd name="connsiteY64" fmla="*/ 300615 h 601134"/>
                <a:gd name="connsiteX65" fmla="*/ 384227 w 592223"/>
                <a:gd name="connsiteY65" fmla="*/ 300615 h 601134"/>
                <a:gd name="connsiteX66" fmla="*/ 290592 w 592223"/>
                <a:gd name="connsiteY66" fmla="*/ 438431 h 601134"/>
                <a:gd name="connsiteX67" fmla="*/ 291399 w 592223"/>
                <a:gd name="connsiteY67" fmla="*/ 440849 h 601134"/>
                <a:gd name="connsiteX68" fmla="*/ 290592 w 592223"/>
                <a:gd name="connsiteY68" fmla="*/ 440849 h 601134"/>
                <a:gd name="connsiteX69" fmla="*/ 293013 w 592223"/>
                <a:gd name="connsiteY69" fmla="*/ 461803 h 601134"/>
                <a:gd name="connsiteX70" fmla="*/ 396335 w 592223"/>
                <a:gd name="connsiteY70" fmla="*/ 580276 h 601134"/>
                <a:gd name="connsiteX71" fmla="*/ 131573 w 592223"/>
                <a:gd name="connsiteY71" fmla="*/ 580276 h 601134"/>
                <a:gd name="connsiteX72" fmla="*/ 0 w 592223"/>
                <a:gd name="connsiteY72" fmla="*/ 449714 h 601134"/>
                <a:gd name="connsiteX73" fmla="*/ 0 w 592223"/>
                <a:gd name="connsiteY73" fmla="*/ 130562 h 601134"/>
                <a:gd name="connsiteX74" fmla="*/ 131573 w 592223"/>
                <a:gd name="connsiteY74" fmla="*/ 0 h 601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592223" h="601134">
                  <a:moveTo>
                    <a:pt x="221980" y="389269"/>
                  </a:moveTo>
                  <a:cubicBezTo>
                    <a:pt x="217136" y="385239"/>
                    <a:pt x="210679" y="386045"/>
                    <a:pt x="206643" y="390881"/>
                  </a:cubicBezTo>
                  <a:lnTo>
                    <a:pt x="139645" y="469057"/>
                  </a:lnTo>
                  <a:lnTo>
                    <a:pt x="98478" y="438431"/>
                  </a:lnTo>
                  <a:cubicBezTo>
                    <a:pt x="93635" y="434401"/>
                    <a:pt x="87178" y="435207"/>
                    <a:pt x="83142" y="440043"/>
                  </a:cubicBezTo>
                  <a:cubicBezTo>
                    <a:pt x="79913" y="444878"/>
                    <a:pt x="80720" y="452132"/>
                    <a:pt x="85563" y="455356"/>
                  </a:cubicBezTo>
                  <a:lnTo>
                    <a:pt x="134802" y="492429"/>
                  </a:lnTo>
                  <a:cubicBezTo>
                    <a:pt x="136417" y="493235"/>
                    <a:pt x="138838" y="494041"/>
                    <a:pt x="141260" y="494041"/>
                  </a:cubicBezTo>
                  <a:cubicBezTo>
                    <a:pt x="143681" y="494041"/>
                    <a:pt x="146910" y="493235"/>
                    <a:pt x="149332" y="490817"/>
                  </a:cubicBezTo>
                  <a:lnTo>
                    <a:pt x="222787" y="404581"/>
                  </a:lnTo>
                  <a:cubicBezTo>
                    <a:pt x="226823" y="399746"/>
                    <a:pt x="226016" y="393298"/>
                    <a:pt x="221980" y="389269"/>
                  </a:cubicBezTo>
                  <a:close/>
                  <a:moveTo>
                    <a:pt x="439075" y="344088"/>
                  </a:moveTo>
                  <a:cubicBezTo>
                    <a:pt x="387420" y="344088"/>
                    <a:pt x="344643" y="385989"/>
                    <a:pt x="344643" y="438365"/>
                  </a:cubicBezTo>
                  <a:cubicBezTo>
                    <a:pt x="344643" y="490741"/>
                    <a:pt x="387420" y="532642"/>
                    <a:pt x="439075" y="532642"/>
                  </a:cubicBezTo>
                  <a:cubicBezTo>
                    <a:pt x="491537" y="532642"/>
                    <a:pt x="534313" y="490741"/>
                    <a:pt x="534313" y="438365"/>
                  </a:cubicBezTo>
                  <a:cubicBezTo>
                    <a:pt x="534313" y="385989"/>
                    <a:pt x="491537" y="344088"/>
                    <a:pt x="439075" y="344088"/>
                  </a:cubicBezTo>
                  <a:close/>
                  <a:moveTo>
                    <a:pt x="439075" y="322332"/>
                  </a:moveTo>
                  <a:cubicBezTo>
                    <a:pt x="503643" y="322332"/>
                    <a:pt x="555298" y="374708"/>
                    <a:pt x="555298" y="438365"/>
                  </a:cubicBezTo>
                  <a:cubicBezTo>
                    <a:pt x="555298" y="468179"/>
                    <a:pt x="543999" y="495576"/>
                    <a:pt x="525435" y="516527"/>
                  </a:cubicBezTo>
                  <a:lnTo>
                    <a:pt x="589197" y="583407"/>
                  </a:lnTo>
                  <a:cubicBezTo>
                    <a:pt x="593232" y="587436"/>
                    <a:pt x="593232" y="594688"/>
                    <a:pt x="589197" y="598717"/>
                  </a:cubicBezTo>
                  <a:cubicBezTo>
                    <a:pt x="586775" y="600328"/>
                    <a:pt x="584354" y="601134"/>
                    <a:pt x="581933" y="601134"/>
                  </a:cubicBezTo>
                  <a:cubicBezTo>
                    <a:pt x="578704" y="601134"/>
                    <a:pt x="576283" y="600328"/>
                    <a:pt x="573861" y="597911"/>
                  </a:cubicBezTo>
                  <a:lnTo>
                    <a:pt x="509293" y="531031"/>
                  </a:lnTo>
                  <a:cubicBezTo>
                    <a:pt x="489922" y="545535"/>
                    <a:pt x="465709" y="554399"/>
                    <a:pt x="439075" y="554399"/>
                  </a:cubicBezTo>
                  <a:cubicBezTo>
                    <a:pt x="375313" y="554399"/>
                    <a:pt x="322851" y="502022"/>
                    <a:pt x="322851" y="438365"/>
                  </a:cubicBezTo>
                  <a:cubicBezTo>
                    <a:pt x="322851" y="374708"/>
                    <a:pt x="375313" y="322332"/>
                    <a:pt x="439075" y="322332"/>
                  </a:cubicBezTo>
                  <a:close/>
                  <a:moveTo>
                    <a:pt x="221980" y="228081"/>
                  </a:moveTo>
                  <a:cubicBezTo>
                    <a:pt x="217136" y="224051"/>
                    <a:pt x="210679" y="224857"/>
                    <a:pt x="206643" y="229693"/>
                  </a:cubicBezTo>
                  <a:lnTo>
                    <a:pt x="139645" y="307869"/>
                  </a:lnTo>
                  <a:lnTo>
                    <a:pt x="98478" y="277243"/>
                  </a:lnTo>
                  <a:cubicBezTo>
                    <a:pt x="93635" y="273213"/>
                    <a:pt x="87178" y="274019"/>
                    <a:pt x="83142" y="278855"/>
                  </a:cubicBezTo>
                  <a:cubicBezTo>
                    <a:pt x="79913" y="283691"/>
                    <a:pt x="80720" y="290944"/>
                    <a:pt x="85563" y="294168"/>
                  </a:cubicBezTo>
                  <a:lnTo>
                    <a:pt x="134802" y="331241"/>
                  </a:lnTo>
                  <a:cubicBezTo>
                    <a:pt x="136417" y="332047"/>
                    <a:pt x="138838" y="332853"/>
                    <a:pt x="141260" y="332853"/>
                  </a:cubicBezTo>
                  <a:cubicBezTo>
                    <a:pt x="143681" y="332853"/>
                    <a:pt x="146910" y="332047"/>
                    <a:pt x="149332" y="329629"/>
                  </a:cubicBezTo>
                  <a:lnTo>
                    <a:pt x="222787" y="243394"/>
                  </a:lnTo>
                  <a:cubicBezTo>
                    <a:pt x="226823" y="238558"/>
                    <a:pt x="226016" y="232111"/>
                    <a:pt x="221980" y="228081"/>
                  </a:cubicBezTo>
                  <a:close/>
                  <a:moveTo>
                    <a:pt x="290592" y="128950"/>
                  </a:moveTo>
                  <a:cubicBezTo>
                    <a:pt x="284941" y="128950"/>
                    <a:pt x="280098" y="133786"/>
                    <a:pt x="280098" y="139428"/>
                  </a:cubicBezTo>
                  <a:cubicBezTo>
                    <a:pt x="280098" y="145875"/>
                    <a:pt x="284941" y="150711"/>
                    <a:pt x="290592" y="150711"/>
                  </a:cubicBezTo>
                  <a:lnTo>
                    <a:pt x="484319" y="150711"/>
                  </a:lnTo>
                  <a:cubicBezTo>
                    <a:pt x="490777" y="150711"/>
                    <a:pt x="495620" y="145875"/>
                    <a:pt x="495620" y="139428"/>
                  </a:cubicBezTo>
                  <a:cubicBezTo>
                    <a:pt x="495620" y="133786"/>
                    <a:pt x="490777" y="128950"/>
                    <a:pt x="484319" y="128950"/>
                  </a:cubicBezTo>
                  <a:close/>
                  <a:moveTo>
                    <a:pt x="221980" y="78176"/>
                  </a:moveTo>
                  <a:cubicBezTo>
                    <a:pt x="217136" y="74147"/>
                    <a:pt x="210679" y="74147"/>
                    <a:pt x="206643" y="78982"/>
                  </a:cubicBezTo>
                  <a:lnTo>
                    <a:pt x="139645" y="157158"/>
                  </a:lnTo>
                  <a:lnTo>
                    <a:pt x="98478" y="126533"/>
                  </a:lnTo>
                  <a:cubicBezTo>
                    <a:pt x="93635" y="123309"/>
                    <a:pt x="87178" y="124115"/>
                    <a:pt x="83142" y="128950"/>
                  </a:cubicBezTo>
                  <a:cubicBezTo>
                    <a:pt x="79913" y="133786"/>
                    <a:pt x="80720" y="140233"/>
                    <a:pt x="85563" y="143457"/>
                  </a:cubicBezTo>
                  <a:lnTo>
                    <a:pt x="134802" y="180530"/>
                  </a:lnTo>
                  <a:cubicBezTo>
                    <a:pt x="136417" y="182142"/>
                    <a:pt x="138838" y="182948"/>
                    <a:pt x="141260" y="182948"/>
                  </a:cubicBezTo>
                  <a:cubicBezTo>
                    <a:pt x="143681" y="182948"/>
                    <a:pt x="146910" y="181336"/>
                    <a:pt x="149332" y="178919"/>
                  </a:cubicBezTo>
                  <a:lnTo>
                    <a:pt x="222787" y="92683"/>
                  </a:lnTo>
                  <a:cubicBezTo>
                    <a:pt x="226823" y="88653"/>
                    <a:pt x="226016" y="81400"/>
                    <a:pt x="221980" y="78176"/>
                  </a:cubicBezTo>
                  <a:close/>
                  <a:moveTo>
                    <a:pt x="131573" y="0"/>
                  </a:moveTo>
                  <a:lnTo>
                    <a:pt x="450417" y="0"/>
                  </a:lnTo>
                  <a:cubicBezTo>
                    <a:pt x="523065" y="0"/>
                    <a:pt x="581183" y="58834"/>
                    <a:pt x="581183" y="130562"/>
                  </a:cubicBezTo>
                  <a:lnTo>
                    <a:pt x="581183" y="395716"/>
                  </a:lnTo>
                  <a:cubicBezTo>
                    <a:pt x="568268" y="350584"/>
                    <a:pt x="533558" y="315122"/>
                    <a:pt x="489970" y="299003"/>
                  </a:cubicBezTo>
                  <a:cubicBezTo>
                    <a:pt x="493198" y="297392"/>
                    <a:pt x="495620" y="294168"/>
                    <a:pt x="495620" y="290138"/>
                  </a:cubicBezTo>
                  <a:cubicBezTo>
                    <a:pt x="495620" y="284497"/>
                    <a:pt x="490777" y="279661"/>
                    <a:pt x="484319" y="279661"/>
                  </a:cubicBezTo>
                  <a:lnTo>
                    <a:pt x="290592" y="279661"/>
                  </a:lnTo>
                  <a:cubicBezTo>
                    <a:pt x="284941" y="279661"/>
                    <a:pt x="280098" y="284497"/>
                    <a:pt x="280098" y="290138"/>
                  </a:cubicBezTo>
                  <a:cubicBezTo>
                    <a:pt x="280098" y="295780"/>
                    <a:pt x="284941" y="300615"/>
                    <a:pt x="290592" y="300615"/>
                  </a:cubicBezTo>
                  <a:lnTo>
                    <a:pt x="384227" y="300615"/>
                  </a:lnTo>
                  <a:cubicBezTo>
                    <a:pt x="329337" y="323182"/>
                    <a:pt x="290592" y="376374"/>
                    <a:pt x="290592" y="438431"/>
                  </a:cubicBezTo>
                  <a:cubicBezTo>
                    <a:pt x="290592" y="439237"/>
                    <a:pt x="291399" y="440043"/>
                    <a:pt x="291399" y="440849"/>
                  </a:cubicBezTo>
                  <a:lnTo>
                    <a:pt x="290592" y="440849"/>
                  </a:lnTo>
                  <a:cubicBezTo>
                    <a:pt x="290592" y="448908"/>
                    <a:pt x="293013" y="461803"/>
                    <a:pt x="293013" y="461803"/>
                  </a:cubicBezTo>
                  <a:cubicBezTo>
                    <a:pt x="301892" y="518219"/>
                    <a:pt x="343059" y="564157"/>
                    <a:pt x="396335" y="580276"/>
                  </a:cubicBezTo>
                  <a:lnTo>
                    <a:pt x="131573" y="580276"/>
                  </a:lnTo>
                  <a:cubicBezTo>
                    <a:pt x="58926" y="580276"/>
                    <a:pt x="0" y="521443"/>
                    <a:pt x="0" y="449714"/>
                  </a:cubicBezTo>
                  <a:lnTo>
                    <a:pt x="0" y="130562"/>
                  </a:lnTo>
                  <a:cubicBezTo>
                    <a:pt x="0" y="58834"/>
                    <a:pt x="58926" y="0"/>
                    <a:pt x="13157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6" name="矩形: 圆顶角 15">
              <a:extLst>
                <a:ext uri="{FF2B5EF4-FFF2-40B4-BE49-F238E27FC236}">
                  <a16:creationId xmlns:a16="http://schemas.microsoft.com/office/drawing/2014/main" id="{304CEBC1-9228-4C37-8958-5B235A3F1A53}"/>
                </a:ext>
              </a:extLst>
            </p:cNvPr>
            <p:cNvSpPr/>
            <p:nvPr/>
          </p:nvSpPr>
          <p:spPr>
            <a:xfrm>
              <a:off x="1804988" y="1800450"/>
              <a:ext cx="1028700" cy="1028700"/>
            </a:xfrm>
            <a:prstGeom prst="round2SameRect">
              <a:avLst>
                <a:gd name="adj1" fmla="val 0"/>
                <a:gd name="adj2" fmla="val 50000"/>
              </a:avLst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57590FC2-437C-4838-B6DB-E5F7DF9274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06852" y="2098616"/>
              <a:ext cx="424971" cy="431365"/>
            </a:xfrm>
            <a:custGeom>
              <a:avLst/>
              <a:gdLst>
                <a:gd name="connsiteX0" fmla="*/ 221980 w 592223"/>
                <a:gd name="connsiteY0" fmla="*/ 389269 h 601134"/>
                <a:gd name="connsiteX1" fmla="*/ 206643 w 592223"/>
                <a:gd name="connsiteY1" fmla="*/ 390881 h 601134"/>
                <a:gd name="connsiteX2" fmla="*/ 139645 w 592223"/>
                <a:gd name="connsiteY2" fmla="*/ 469057 h 601134"/>
                <a:gd name="connsiteX3" fmla="*/ 98478 w 592223"/>
                <a:gd name="connsiteY3" fmla="*/ 438431 h 601134"/>
                <a:gd name="connsiteX4" fmla="*/ 83142 w 592223"/>
                <a:gd name="connsiteY4" fmla="*/ 440043 h 601134"/>
                <a:gd name="connsiteX5" fmla="*/ 85563 w 592223"/>
                <a:gd name="connsiteY5" fmla="*/ 455356 h 601134"/>
                <a:gd name="connsiteX6" fmla="*/ 134802 w 592223"/>
                <a:gd name="connsiteY6" fmla="*/ 492429 h 601134"/>
                <a:gd name="connsiteX7" fmla="*/ 141260 w 592223"/>
                <a:gd name="connsiteY7" fmla="*/ 494041 h 601134"/>
                <a:gd name="connsiteX8" fmla="*/ 149332 w 592223"/>
                <a:gd name="connsiteY8" fmla="*/ 490817 h 601134"/>
                <a:gd name="connsiteX9" fmla="*/ 222787 w 592223"/>
                <a:gd name="connsiteY9" fmla="*/ 404581 h 601134"/>
                <a:gd name="connsiteX10" fmla="*/ 221980 w 592223"/>
                <a:gd name="connsiteY10" fmla="*/ 389269 h 601134"/>
                <a:gd name="connsiteX11" fmla="*/ 439075 w 592223"/>
                <a:gd name="connsiteY11" fmla="*/ 344088 h 601134"/>
                <a:gd name="connsiteX12" fmla="*/ 344643 w 592223"/>
                <a:gd name="connsiteY12" fmla="*/ 438365 h 601134"/>
                <a:gd name="connsiteX13" fmla="*/ 439075 w 592223"/>
                <a:gd name="connsiteY13" fmla="*/ 532642 h 601134"/>
                <a:gd name="connsiteX14" fmla="*/ 534313 w 592223"/>
                <a:gd name="connsiteY14" fmla="*/ 438365 h 601134"/>
                <a:gd name="connsiteX15" fmla="*/ 439075 w 592223"/>
                <a:gd name="connsiteY15" fmla="*/ 344088 h 601134"/>
                <a:gd name="connsiteX16" fmla="*/ 439075 w 592223"/>
                <a:gd name="connsiteY16" fmla="*/ 322332 h 601134"/>
                <a:gd name="connsiteX17" fmla="*/ 555298 w 592223"/>
                <a:gd name="connsiteY17" fmla="*/ 438365 h 601134"/>
                <a:gd name="connsiteX18" fmla="*/ 525435 w 592223"/>
                <a:gd name="connsiteY18" fmla="*/ 516527 h 601134"/>
                <a:gd name="connsiteX19" fmla="*/ 589197 w 592223"/>
                <a:gd name="connsiteY19" fmla="*/ 583407 h 601134"/>
                <a:gd name="connsiteX20" fmla="*/ 589197 w 592223"/>
                <a:gd name="connsiteY20" fmla="*/ 598717 h 601134"/>
                <a:gd name="connsiteX21" fmla="*/ 581933 w 592223"/>
                <a:gd name="connsiteY21" fmla="*/ 601134 h 601134"/>
                <a:gd name="connsiteX22" fmla="*/ 573861 w 592223"/>
                <a:gd name="connsiteY22" fmla="*/ 597911 h 601134"/>
                <a:gd name="connsiteX23" fmla="*/ 509293 w 592223"/>
                <a:gd name="connsiteY23" fmla="*/ 531031 h 601134"/>
                <a:gd name="connsiteX24" fmla="*/ 439075 w 592223"/>
                <a:gd name="connsiteY24" fmla="*/ 554399 h 601134"/>
                <a:gd name="connsiteX25" fmla="*/ 322851 w 592223"/>
                <a:gd name="connsiteY25" fmla="*/ 438365 h 601134"/>
                <a:gd name="connsiteX26" fmla="*/ 439075 w 592223"/>
                <a:gd name="connsiteY26" fmla="*/ 322332 h 601134"/>
                <a:gd name="connsiteX27" fmla="*/ 221980 w 592223"/>
                <a:gd name="connsiteY27" fmla="*/ 228081 h 601134"/>
                <a:gd name="connsiteX28" fmla="*/ 206643 w 592223"/>
                <a:gd name="connsiteY28" fmla="*/ 229693 h 601134"/>
                <a:gd name="connsiteX29" fmla="*/ 139645 w 592223"/>
                <a:gd name="connsiteY29" fmla="*/ 307869 h 601134"/>
                <a:gd name="connsiteX30" fmla="*/ 98478 w 592223"/>
                <a:gd name="connsiteY30" fmla="*/ 277243 h 601134"/>
                <a:gd name="connsiteX31" fmla="*/ 83142 w 592223"/>
                <a:gd name="connsiteY31" fmla="*/ 278855 h 601134"/>
                <a:gd name="connsiteX32" fmla="*/ 85563 w 592223"/>
                <a:gd name="connsiteY32" fmla="*/ 294168 h 601134"/>
                <a:gd name="connsiteX33" fmla="*/ 134802 w 592223"/>
                <a:gd name="connsiteY33" fmla="*/ 331241 h 601134"/>
                <a:gd name="connsiteX34" fmla="*/ 141260 w 592223"/>
                <a:gd name="connsiteY34" fmla="*/ 332853 h 601134"/>
                <a:gd name="connsiteX35" fmla="*/ 149332 w 592223"/>
                <a:gd name="connsiteY35" fmla="*/ 329629 h 601134"/>
                <a:gd name="connsiteX36" fmla="*/ 222787 w 592223"/>
                <a:gd name="connsiteY36" fmla="*/ 243394 h 601134"/>
                <a:gd name="connsiteX37" fmla="*/ 221980 w 592223"/>
                <a:gd name="connsiteY37" fmla="*/ 228081 h 601134"/>
                <a:gd name="connsiteX38" fmla="*/ 290592 w 592223"/>
                <a:gd name="connsiteY38" fmla="*/ 128950 h 601134"/>
                <a:gd name="connsiteX39" fmla="*/ 280098 w 592223"/>
                <a:gd name="connsiteY39" fmla="*/ 139428 h 601134"/>
                <a:gd name="connsiteX40" fmla="*/ 290592 w 592223"/>
                <a:gd name="connsiteY40" fmla="*/ 150711 h 601134"/>
                <a:gd name="connsiteX41" fmla="*/ 484319 w 592223"/>
                <a:gd name="connsiteY41" fmla="*/ 150711 h 601134"/>
                <a:gd name="connsiteX42" fmla="*/ 495620 w 592223"/>
                <a:gd name="connsiteY42" fmla="*/ 139428 h 601134"/>
                <a:gd name="connsiteX43" fmla="*/ 484319 w 592223"/>
                <a:gd name="connsiteY43" fmla="*/ 128950 h 601134"/>
                <a:gd name="connsiteX44" fmla="*/ 221980 w 592223"/>
                <a:gd name="connsiteY44" fmla="*/ 78176 h 601134"/>
                <a:gd name="connsiteX45" fmla="*/ 206643 w 592223"/>
                <a:gd name="connsiteY45" fmla="*/ 78982 h 601134"/>
                <a:gd name="connsiteX46" fmla="*/ 139645 w 592223"/>
                <a:gd name="connsiteY46" fmla="*/ 157158 h 601134"/>
                <a:gd name="connsiteX47" fmla="*/ 98478 w 592223"/>
                <a:gd name="connsiteY47" fmla="*/ 126533 h 601134"/>
                <a:gd name="connsiteX48" fmla="*/ 83142 w 592223"/>
                <a:gd name="connsiteY48" fmla="*/ 128950 h 601134"/>
                <a:gd name="connsiteX49" fmla="*/ 85563 w 592223"/>
                <a:gd name="connsiteY49" fmla="*/ 143457 h 601134"/>
                <a:gd name="connsiteX50" fmla="*/ 134802 w 592223"/>
                <a:gd name="connsiteY50" fmla="*/ 180530 h 601134"/>
                <a:gd name="connsiteX51" fmla="*/ 141260 w 592223"/>
                <a:gd name="connsiteY51" fmla="*/ 182948 h 601134"/>
                <a:gd name="connsiteX52" fmla="*/ 149332 w 592223"/>
                <a:gd name="connsiteY52" fmla="*/ 178919 h 601134"/>
                <a:gd name="connsiteX53" fmla="*/ 222787 w 592223"/>
                <a:gd name="connsiteY53" fmla="*/ 92683 h 601134"/>
                <a:gd name="connsiteX54" fmla="*/ 221980 w 592223"/>
                <a:gd name="connsiteY54" fmla="*/ 78176 h 601134"/>
                <a:gd name="connsiteX55" fmla="*/ 131573 w 592223"/>
                <a:gd name="connsiteY55" fmla="*/ 0 h 601134"/>
                <a:gd name="connsiteX56" fmla="*/ 450417 w 592223"/>
                <a:gd name="connsiteY56" fmla="*/ 0 h 601134"/>
                <a:gd name="connsiteX57" fmla="*/ 581183 w 592223"/>
                <a:gd name="connsiteY57" fmla="*/ 130562 h 601134"/>
                <a:gd name="connsiteX58" fmla="*/ 581183 w 592223"/>
                <a:gd name="connsiteY58" fmla="*/ 395716 h 601134"/>
                <a:gd name="connsiteX59" fmla="*/ 489970 w 592223"/>
                <a:gd name="connsiteY59" fmla="*/ 299003 h 601134"/>
                <a:gd name="connsiteX60" fmla="*/ 495620 w 592223"/>
                <a:gd name="connsiteY60" fmla="*/ 290138 h 601134"/>
                <a:gd name="connsiteX61" fmla="*/ 484319 w 592223"/>
                <a:gd name="connsiteY61" fmla="*/ 279661 h 601134"/>
                <a:gd name="connsiteX62" fmla="*/ 290592 w 592223"/>
                <a:gd name="connsiteY62" fmla="*/ 279661 h 601134"/>
                <a:gd name="connsiteX63" fmla="*/ 280098 w 592223"/>
                <a:gd name="connsiteY63" fmla="*/ 290138 h 601134"/>
                <a:gd name="connsiteX64" fmla="*/ 290592 w 592223"/>
                <a:gd name="connsiteY64" fmla="*/ 300615 h 601134"/>
                <a:gd name="connsiteX65" fmla="*/ 384227 w 592223"/>
                <a:gd name="connsiteY65" fmla="*/ 300615 h 601134"/>
                <a:gd name="connsiteX66" fmla="*/ 290592 w 592223"/>
                <a:gd name="connsiteY66" fmla="*/ 438431 h 601134"/>
                <a:gd name="connsiteX67" fmla="*/ 291399 w 592223"/>
                <a:gd name="connsiteY67" fmla="*/ 440849 h 601134"/>
                <a:gd name="connsiteX68" fmla="*/ 290592 w 592223"/>
                <a:gd name="connsiteY68" fmla="*/ 440849 h 601134"/>
                <a:gd name="connsiteX69" fmla="*/ 293013 w 592223"/>
                <a:gd name="connsiteY69" fmla="*/ 461803 h 601134"/>
                <a:gd name="connsiteX70" fmla="*/ 396335 w 592223"/>
                <a:gd name="connsiteY70" fmla="*/ 580276 h 601134"/>
                <a:gd name="connsiteX71" fmla="*/ 131573 w 592223"/>
                <a:gd name="connsiteY71" fmla="*/ 580276 h 601134"/>
                <a:gd name="connsiteX72" fmla="*/ 0 w 592223"/>
                <a:gd name="connsiteY72" fmla="*/ 449714 h 601134"/>
                <a:gd name="connsiteX73" fmla="*/ 0 w 592223"/>
                <a:gd name="connsiteY73" fmla="*/ 130562 h 601134"/>
                <a:gd name="connsiteX74" fmla="*/ 131573 w 592223"/>
                <a:gd name="connsiteY74" fmla="*/ 0 h 601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592223" h="601134">
                  <a:moveTo>
                    <a:pt x="221980" y="389269"/>
                  </a:moveTo>
                  <a:cubicBezTo>
                    <a:pt x="217136" y="385239"/>
                    <a:pt x="210679" y="386045"/>
                    <a:pt x="206643" y="390881"/>
                  </a:cubicBezTo>
                  <a:lnTo>
                    <a:pt x="139645" y="469057"/>
                  </a:lnTo>
                  <a:lnTo>
                    <a:pt x="98478" y="438431"/>
                  </a:lnTo>
                  <a:cubicBezTo>
                    <a:pt x="93635" y="434401"/>
                    <a:pt x="87178" y="435207"/>
                    <a:pt x="83142" y="440043"/>
                  </a:cubicBezTo>
                  <a:cubicBezTo>
                    <a:pt x="79913" y="444878"/>
                    <a:pt x="80720" y="452132"/>
                    <a:pt x="85563" y="455356"/>
                  </a:cubicBezTo>
                  <a:lnTo>
                    <a:pt x="134802" y="492429"/>
                  </a:lnTo>
                  <a:cubicBezTo>
                    <a:pt x="136417" y="493235"/>
                    <a:pt x="138838" y="494041"/>
                    <a:pt x="141260" y="494041"/>
                  </a:cubicBezTo>
                  <a:cubicBezTo>
                    <a:pt x="143681" y="494041"/>
                    <a:pt x="146910" y="493235"/>
                    <a:pt x="149332" y="490817"/>
                  </a:cubicBezTo>
                  <a:lnTo>
                    <a:pt x="222787" y="404581"/>
                  </a:lnTo>
                  <a:cubicBezTo>
                    <a:pt x="226823" y="399746"/>
                    <a:pt x="226016" y="393298"/>
                    <a:pt x="221980" y="389269"/>
                  </a:cubicBezTo>
                  <a:close/>
                  <a:moveTo>
                    <a:pt x="439075" y="344088"/>
                  </a:moveTo>
                  <a:cubicBezTo>
                    <a:pt x="387420" y="344088"/>
                    <a:pt x="344643" y="385989"/>
                    <a:pt x="344643" y="438365"/>
                  </a:cubicBezTo>
                  <a:cubicBezTo>
                    <a:pt x="344643" y="490741"/>
                    <a:pt x="387420" y="532642"/>
                    <a:pt x="439075" y="532642"/>
                  </a:cubicBezTo>
                  <a:cubicBezTo>
                    <a:pt x="491537" y="532642"/>
                    <a:pt x="534313" y="490741"/>
                    <a:pt x="534313" y="438365"/>
                  </a:cubicBezTo>
                  <a:cubicBezTo>
                    <a:pt x="534313" y="385989"/>
                    <a:pt x="491537" y="344088"/>
                    <a:pt x="439075" y="344088"/>
                  </a:cubicBezTo>
                  <a:close/>
                  <a:moveTo>
                    <a:pt x="439075" y="322332"/>
                  </a:moveTo>
                  <a:cubicBezTo>
                    <a:pt x="503643" y="322332"/>
                    <a:pt x="555298" y="374708"/>
                    <a:pt x="555298" y="438365"/>
                  </a:cubicBezTo>
                  <a:cubicBezTo>
                    <a:pt x="555298" y="468179"/>
                    <a:pt x="543999" y="495576"/>
                    <a:pt x="525435" y="516527"/>
                  </a:cubicBezTo>
                  <a:lnTo>
                    <a:pt x="589197" y="583407"/>
                  </a:lnTo>
                  <a:cubicBezTo>
                    <a:pt x="593232" y="587436"/>
                    <a:pt x="593232" y="594688"/>
                    <a:pt x="589197" y="598717"/>
                  </a:cubicBezTo>
                  <a:cubicBezTo>
                    <a:pt x="586775" y="600328"/>
                    <a:pt x="584354" y="601134"/>
                    <a:pt x="581933" y="601134"/>
                  </a:cubicBezTo>
                  <a:cubicBezTo>
                    <a:pt x="578704" y="601134"/>
                    <a:pt x="576283" y="600328"/>
                    <a:pt x="573861" y="597911"/>
                  </a:cubicBezTo>
                  <a:lnTo>
                    <a:pt x="509293" y="531031"/>
                  </a:lnTo>
                  <a:cubicBezTo>
                    <a:pt x="489922" y="545535"/>
                    <a:pt x="465709" y="554399"/>
                    <a:pt x="439075" y="554399"/>
                  </a:cubicBezTo>
                  <a:cubicBezTo>
                    <a:pt x="375313" y="554399"/>
                    <a:pt x="322851" y="502022"/>
                    <a:pt x="322851" y="438365"/>
                  </a:cubicBezTo>
                  <a:cubicBezTo>
                    <a:pt x="322851" y="374708"/>
                    <a:pt x="375313" y="322332"/>
                    <a:pt x="439075" y="322332"/>
                  </a:cubicBezTo>
                  <a:close/>
                  <a:moveTo>
                    <a:pt x="221980" y="228081"/>
                  </a:moveTo>
                  <a:cubicBezTo>
                    <a:pt x="217136" y="224051"/>
                    <a:pt x="210679" y="224857"/>
                    <a:pt x="206643" y="229693"/>
                  </a:cubicBezTo>
                  <a:lnTo>
                    <a:pt x="139645" y="307869"/>
                  </a:lnTo>
                  <a:lnTo>
                    <a:pt x="98478" y="277243"/>
                  </a:lnTo>
                  <a:cubicBezTo>
                    <a:pt x="93635" y="273213"/>
                    <a:pt x="87178" y="274019"/>
                    <a:pt x="83142" y="278855"/>
                  </a:cubicBezTo>
                  <a:cubicBezTo>
                    <a:pt x="79913" y="283691"/>
                    <a:pt x="80720" y="290944"/>
                    <a:pt x="85563" y="294168"/>
                  </a:cubicBezTo>
                  <a:lnTo>
                    <a:pt x="134802" y="331241"/>
                  </a:lnTo>
                  <a:cubicBezTo>
                    <a:pt x="136417" y="332047"/>
                    <a:pt x="138838" y="332853"/>
                    <a:pt x="141260" y="332853"/>
                  </a:cubicBezTo>
                  <a:cubicBezTo>
                    <a:pt x="143681" y="332853"/>
                    <a:pt x="146910" y="332047"/>
                    <a:pt x="149332" y="329629"/>
                  </a:cubicBezTo>
                  <a:lnTo>
                    <a:pt x="222787" y="243394"/>
                  </a:lnTo>
                  <a:cubicBezTo>
                    <a:pt x="226823" y="238558"/>
                    <a:pt x="226016" y="232111"/>
                    <a:pt x="221980" y="228081"/>
                  </a:cubicBezTo>
                  <a:close/>
                  <a:moveTo>
                    <a:pt x="290592" y="128950"/>
                  </a:moveTo>
                  <a:cubicBezTo>
                    <a:pt x="284941" y="128950"/>
                    <a:pt x="280098" y="133786"/>
                    <a:pt x="280098" y="139428"/>
                  </a:cubicBezTo>
                  <a:cubicBezTo>
                    <a:pt x="280098" y="145875"/>
                    <a:pt x="284941" y="150711"/>
                    <a:pt x="290592" y="150711"/>
                  </a:cubicBezTo>
                  <a:lnTo>
                    <a:pt x="484319" y="150711"/>
                  </a:lnTo>
                  <a:cubicBezTo>
                    <a:pt x="490777" y="150711"/>
                    <a:pt x="495620" y="145875"/>
                    <a:pt x="495620" y="139428"/>
                  </a:cubicBezTo>
                  <a:cubicBezTo>
                    <a:pt x="495620" y="133786"/>
                    <a:pt x="490777" y="128950"/>
                    <a:pt x="484319" y="128950"/>
                  </a:cubicBezTo>
                  <a:close/>
                  <a:moveTo>
                    <a:pt x="221980" y="78176"/>
                  </a:moveTo>
                  <a:cubicBezTo>
                    <a:pt x="217136" y="74147"/>
                    <a:pt x="210679" y="74147"/>
                    <a:pt x="206643" y="78982"/>
                  </a:cubicBezTo>
                  <a:lnTo>
                    <a:pt x="139645" y="157158"/>
                  </a:lnTo>
                  <a:lnTo>
                    <a:pt x="98478" y="126533"/>
                  </a:lnTo>
                  <a:cubicBezTo>
                    <a:pt x="93635" y="123309"/>
                    <a:pt x="87178" y="124115"/>
                    <a:pt x="83142" y="128950"/>
                  </a:cubicBezTo>
                  <a:cubicBezTo>
                    <a:pt x="79913" y="133786"/>
                    <a:pt x="80720" y="140233"/>
                    <a:pt x="85563" y="143457"/>
                  </a:cubicBezTo>
                  <a:lnTo>
                    <a:pt x="134802" y="180530"/>
                  </a:lnTo>
                  <a:cubicBezTo>
                    <a:pt x="136417" y="182142"/>
                    <a:pt x="138838" y="182948"/>
                    <a:pt x="141260" y="182948"/>
                  </a:cubicBezTo>
                  <a:cubicBezTo>
                    <a:pt x="143681" y="182948"/>
                    <a:pt x="146910" y="181336"/>
                    <a:pt x="149332" y="178919"/>
                  </a:cubicBezTo>
                  <a:lnTo>
                    <a:pt x="222787" y="92683"/>
                  </a:lnTo>
                  <a:cubicBezTo>
                    <a:pt x="226823" y="88653"/>
                    <a:pt x="226016" y="81400"/>
                    <a:pt x="221980" y="78176"/>
                  </a:cubicBezTo>
                  <a:close/>
                  <a:moveTo>
                    <a:pt x="131573" y="0"/>
                  </a:moveTo>
                  <a:lnTo>
                    <a:pt x="450417" y="0"/>
                  </a:lnTo>
                  <a:cubicBezTo>
                    <a:pt x="523065" y="0"/>
                    <a:pt x="581183" y="58834"/>
                    <a:pt x="581183" y="130562"/>
                  </a:cubicBezTo>
                  <a:lnTo>
                    <a:pt x="581183" y="395716"/>
                  </a:lnTo>
                  <a:cubicBezTo>
                    <a:pt x="568268" y="350584"/>
                    <a:pt x="533558" y="315122"/>
                    <a:pt x="489970" y="299003"/>
                  </a:cubicBezTo>
                  <a:cubicBezTo>
                    <a:pt x="493198" y="297392"/>
                    <a:pt x="495620" y="294168"/>
                    <a:pt x="495620" y="290138"/>
                  </a:cubicBezTo>
                  <a:cubicBezTo>
                    <a:pt x="495620" y="284497"/>
                    <a:pt x="490777" y="279661"/>
                    <a:pt x="484319" y="279661"/>
                  </a:cubicBezTo>
                  <a:lnTo>
                    <a:pt x="290592" y="279661"/>
                  </a:lnTo>
                  <a:cubicBezTo>
                    <a:pt x="284941" y="279661"/>
                    <a:pt x="280098" y="284497"/>
                    <a:pt x="280098" y="290138"/>
                  </a:cubicBezTo>
                  <a:cubicBezTo>
                    <a:pt x="280098" y="295780"/>
                    <a:pt x="284941" y="300615"/>
                    <a:pt x="290592" y="300615"/>
                  </a:cubicBezTo>
                  <a:lnTo>
                    <a:pt x="384227" y="300615"/>
                  </a:lnTo>
                  <a:cubicBezTo>
                    <a:pt x="329337" y="323182"/>
                    <a:pt x="290592" y="376374"/>
                    <a:pt x="290592" y="438431"/>
                  </a:cubicBezTo>
                  <a:cubicBezTo>
                    <a:pt x="290592" y="439237"/>
                    <a:pt x="291399" y="440043"/>
                    <a:pt x="291399" y="440849"/>
                  </a:cubicBezTo>
                  <a:lnTo>
                    <a:pt x="290592" y="440849"/>
                  </a:lnTo>
                  <a:cubicBezTo>
                    <a:pt x="290592" y="448908"/>
                    <a:pt x="293013" y="461803"/>
                    <a:pt x="293013" y="461803"/>
                  </a:cubicBezTo>
                  <a:cubicBezTo>
                    <a:pt x="301892" y="518219"/>
                    <a:pt x="343059" y="564157"/>
                    <a:pt x="396335" y="580276"/>
                  </a:cubicBezTo>
                  <a:lnTo>
                    <a:pt x="131573" y="580276"/>
                  </a:lnTo>
                  <a:cubicBezTo>
                    <a:pt x="58926" y="580276"/>
                    <a:pt x="0" y="521443"/>
                    <a:pt x="0" y="449714"/>
                  </a:cubicBezTo>
                  <a:lnTo>
                    <a:pt x="0" y="130562"/>
                  </a:lnTo>
                  <a:cubicBezTo>
                    <a:pt x="0" y="58834"/>
                    <a:pt x="58926" y="0"/>
                    <a:pt x="13157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FE27FA7A-92DC-4AB3-AC35-6016CF265FC5}"/>
                </a:ext>
              </a:extLst>
            </p:cNvPr>
            <p:cNvSpPr/>
            <p:nvPr/>
          </p:nvSpPr>
          <p:spPr bwMode="auto">
            <a:xfrm>
              <a:off x="4162426" y="2547578"/>
              <a:ext cx="3867150" cy="2019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defTabSz="914400">
                <a:lnSpc>
                  <a:spcPct val="150000"/>
                </a:lnSpc>
                <a:buClr>
                  <a:schemeClr val="accent1"/>
                </a:buClr>
                <a:buSzPct val="150000"/>
              </a:pPr>
              <a:r>
                <a:rPr lang="en-US" altLang="zh-CN" sz="1200" dirty="0"/>
                <a:t>Unified fonts make reading more fluent. Theme color makes PPT more convenient to change. Adjust the spacing to adapt to Chinese typesetting, use the reference line in PPT.</a:t>
              </a:r>
            </a:p>
            <a:p>
              <a:pPr algn="ctr" defTabSz="914400">
                <a:lnSpc>
                  <a:spcPct val="150000"/>
                </a:lnSpc>
                <a:buClr>
                  <a:schemeClr val="accent1"/>
                </a:buClr>
                <a:buSzPct val="150000"/>
              </a:pPr>
              <a:endParaRPr lang="en-US" altLang="zh-CN" sz="1200" dirty="0"/>
            </a:p>
            <a:p>
              <a:pPr algn="ctr" defTabSz="914400">
                <a:lnSpc>
                  <a:spcPct val="150000"/>
                </a:lnSpc>
                <a:buClr>
                  <a:schemeClr val="accent1"/>
                </a:buClr>
                <a:buSzPct val="150000"/>
              </a:pPr>
              <a:r>
                <a:rPr lang="en-US" altLang="zh-CN" sz="1200" dirty="0"/>
                <a:t>……</a:t>
              </a: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7E7A6222-77A6-4232-B76D-D3C9D4855C2D}"/>
                </a:ext>
              </a:extLst>
            </p:cNvPr>
            <p:cNvSpPr/>
            <p:nvPr/>
          </p:nvSpPr>
          <p:spPr bwMode="auto">
            <a:xfrm>
              <a:off x="829901" y="2931937"/>
              <a:ext cx="3175722" cy="2019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defTabSz="914400">
                <a:lnSpc>
                  <a:spcPct val="150000"/>
                </a:lnSpc>
                <a:buClr>
                  <a:schemeClr val="accent1"/>
                </a:buClr>
                <a:buSzPct val="150000"/>
              </a:pPr>
              <a:r>
                <a:rPr lang="en-US" altLang="zh-CN" sz="1100" dirty="0"/>
                <a:t>Unified fonts make reading more fluent. Theme color makes PPT more convenient to change. Adjust the spacing to adapt to Chinese typesetting, use the reference line in PPT.</a:t>
              </a:r>
            </a:p>
            <a:p>
              <a:pPr algn="ctr" defTabSz="914400">
                <a:lnSpc>
                  <a:spcPct val="150000"/>
                </a:lnSpc>
                <a:buClr>
                  <a:schemeClr val="accent1"/>
                </a:buClr>
                <a:buSzPct val="150000"/>
              </a:pPr>
              <a:endParaRPr lang="en-US" altLang="zh-CN" sz="1100" dirty="0"/>
            </a:p>
            <a:p>
              <a:pPr algn="ctr" defTabSz="914400">
                <a:lnSpc>
                  <a:spcPct val="150000"/>
                </a:lnSpc>
                <a:buClr>
                  <a:schemeClr val="accent1"/>
                </a:buClr>
                <a:buSzPct val="150000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61681A39-58B8-42E2-83BC-C753213F4CB9}"/>
                </a:ext>
              </a:extLst>
            </p:cNvPr>
            <p:cNvSpPr/>
            <p:nvPr/>
          </p:nvSpPr>
          <p:spPr bwMode="auto">
            <a:xfrm>
              <a:off x="8186377" y="2931937"/>
              <a:ext cx="3175722" cy="20195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defTabSz="914400">
                <a:lnSpc>
                  <a:spcPct val="150000"/>
                </a:lnSpc>
                <a:buClr>
                  <a:schemeClr val="accent1"/>
                </a:buClr>
                <a:buSzPct val="150000"/>
              </a:pPr>
              <a:r>
                <a:rPr lang="en-US" altLang="zh-CN" sz="1100" dirty="0"/>
                <a:t>Unified fonts make reading more fluent. Theme color makes PPT more convenient to change. Adjust the spacing to adapt to Chinese typesetting, use the reference line in PPT.</a:t>
              </a:r>
            </a:p>
            <a:p>
              <a:pPr algn="ctr" defTabSz="914400">
                <a:lnSpc>
                  <a:spcPct val="150000"/>
                </a:lnSpc>
                <a:buClr>
                  <a:schemeClr val="accent1"/>
                </a:buClr>
                <a:buSzPct val="150000"/>
              </a:pPr>
              <a:endParaRPr lang="en-US" altLang="zh-CN" sz="1100" dirty="0"/>
            </a:p>
            <a:p>
              <a:pPr algn="ctr" defTabSz="914400">
                <a:lnSpc>
                  <a:spcPct val="150000"/>
                </a:lnSpc>
                <a:buClr>
                  <a:schemeClr val="accent1"/>
                </a:buClr>
                <a:buSzPct val="150000"/>
              </a:pPr>
              <a:r>
                <a:rPr lang="en-US" altLang="zh-CN" sz="1100" dirty="0"/>
                <a:t>…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596513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工作完成情况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完成概述   完成阶段   完成比例</a:t>
            </a:r>
            <a:endParaRPr lang="en-US" altLang="zh-CN" dirty="0"/>
          </a:p>
          <a:p>
            <a:r>
              <a:rPr lang="zh-CN" altLang="en-US" dirty="0"/>
              <a:t>季度完成   完成计划</a:t>
            </a:r>
            <a:endParaRPr lang="en-US" altLang="zh-CN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1766951" y="330180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84746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00e5704f-b5a5-4cae-8b43-89da1538c61a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36EB8"/>
      </a:accent1>
      <a:accent2>
        <a:srgbClr val="7CABD6"/>
      </a:accent2>
      <a:accent3>
        <a:srgbClr val="646464"/>
      </a:accent3>
      <a:accent4>
        <a:srgbClr val="7F7F7F"/>
      </a:accent4>
      <a:accent5>
        <a:srgbClr val="A5A5A5"/>
      </a:accent5>
      <a:accent6>
        <a:srgbClr val="C9C9C9"/>
      </a:accent6>
      <a:hlink>
        <a:srgbClr val="136EB8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36EB8"/>
    </a:accent1>
    <a:accent2>
      <a:srgbClr val="7CABD6"/>
    </a:accent2>
    <a:accent3>
      <a:srgbClr val="646464"/>
    </a:accent3>
    <a:accent4>
      <a:srgbClr val="7F7F7F"/>
    </a:accent4>
    <a:accent5>
      <a:srgbClr val="A5A5A5"/>
    </a:accent5>
    <a:accent6>
      <a:srgbClr val="C9C9C9"/>
    </a:accent6>
    <a:hlink>
      <a:srgbClr val="136EB8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36EB8"/>
    </a:accent1>
    <a:accent2>
      <a:srgbClr val="7CABD6"/>
    </a:accent2>
    <a:accent3>
      <a:srgbClr val="646464"/>
    </a:accent3>
    <a:accent4>
      <a:srgbClr val="7F7F7F"/>
    </a:accent4>
    <a:accent5>
      <a:srgbClr val="A5A5A5"/>
    </a:accent5>
    <a:accent6>
      <a:srgbClr val="C9C9C9"/>
    </a:accent6>
    <a:hlink>
      <a:srgbClr val="136EB8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36EB8"/>
    </a:accent1>
    <a:accent2>
      <a:srgbClr val="7CABD6"/>
    </a:accent2>
    <a:accent3>
      <a:srgbClr val="646464"/>
    </a:accent3>
    <a:accent4>
      <a:srgbClr val="7F7F7F"/>
    </a:accent4>
    <a:accent5>
      <a:srgbClr val="A5A5A5"/>
    </a:accent5>
    <a:accent6>
      <a:srgbClr val="C9C9C9"/>
    </a:accent6>
    <a:hlink>
      <a:srgbClr val="136EB8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36EB8"/>
    </a:accent1>
    <a:accent2>
      <a:srgbClr val="7CABD6"/>
    </a:accent2>
    <a:accent3>
      <a:srgbClr val="646464"/>
    </a:accent3>
    <a:accent4>
      <a:srgbClr val="7F7F7F"/>
    </a:accent4>
    <a:accent5>
      <a:srgbClr val="A5A5A5"/>
    </a:accent5>
    <a:accent6>
      <a:srgbClr val="C9C9C9"/>
    </a:accent6>
    <a:hlink>
      <a:srgbClr val="136EB8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36EB8"/>
    </a:accent1>
    <a:accent2>
      <a:srgbClr val="7CABD6"/>
    </a:accent2>
    <a:accent3>
      <a:srgbClr val="646464"/>
    </a:accent3>
    <a:accent4>
      <a:srgbClr val="7F7F7F"/>
    </a:accent4>
    <a:accent5>
      <a:srgbClr val="A5A5A5"/>
    </a:accent5>
    <a:accent6>
      <a:srgbClr val="C9C9C9"/>
    </a:accent6>
    <a:hlink>
      <a:srgbClr val="136EB8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36EB8"/>
    </a:accent1>
    <a:accent2>
      <a:srgbClr val="7CABD6"/>
    </a:accent2>
    <a:accent3>
      <a:srgbClr val="646464"/>
    </a:accent3>
    <a:accent4>
      <a:srgbClr val="7F7F7F"/>
    </a:accent4>
    <a:accent5>
      <a:srgbClr val="A5A5A5"/>
    </a:accent5>
    <a:accent6>
      <a:srgbClr val="C9C9C9"/>
    </a:accent6>
    <a:hlink>
      <a:srgbClr val="136EB8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36EB8"/>
    </a:accent1>
    <a:accent2>
      <a:srgbClr val="7CABD6"/>
    </a:accent2>
    <a:accent3>
      <a:srgbClr val="646464"/>
    </a:accent3>
    <a:accent4>
      <a:srgbClr val="7F7F7F"/>
    </a:accent4>
    <a:accent5>
      <a:srgbClr val="A5A5A5"/>
    </a:accent5>
    <a:accent6>
      <a:srgbClr val="C9C9C9"/>
    </a:accent6>
    <a:hlink>
      <a:srgbClr val="136EB8"/>
    </a:hlink>
    <a:folHlink>
      <a:srgbClr val="BFBFBF"/>
    </a:folHlink>
  </a:clrScheme>
</a:themeOverrid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2109</Words>
  <Application>Microsoft Office PowerPoint</Application>
  <PresentationFormat>宽屏</PresentationFormat>
  <Paragraphs>443</Paragraphs>
  <Slides>3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2</vt:i4>
      </vt:variant>
    </vt:vector>
  </HeadingPairs>
  <TitlesOfParts>
    <vt:vector size="38" baseType="lpstr">
      <vt:lpstr>等线</vt:lpstr>
      <vt:lpstr>Arial</vt:lpstr>
      <vt:lpstr>Calibri</vt:lpstr>
      <vt:lpstr>Impact</vt:lpstr>
      <vt:lpstr>主题5</vt:lpstr>
      <vt:lpstr>think-cell Slide</vt:lpstr>
      <vt:lpstr>YEAR-END REPORT</vt:lpstr>
      <vt:lpstr>PowerPoint 演示文稿</vt:lpstr>
      <vt:lpstr>工作概述</vt:lpstr>
      <vt:lpstr>工作回顾</vt:lpstr>
      <vt:lpstr>工作计划</vt:lpstr>
      <vt:lpstr>工作进度</vt:lpstr>
      <vt:lpstr>完成情况</vt:lpstr>
      <vt:lpstr>去年相比</vt:lpstr>
      <vt:lpstr>工作完成情况</vt:lpstr>
      <vt:lpstr>完成概述</vt:lpstr>
      <vt:lpstr>完成阶段</vt:lpstr>
      <vt:lpstr>完成比例</vt:lpstr>
      <vt:lpstr>季度完成</vt:lpstr>
      <vt:lpstr>完成计划</vt:lpstr>
      <vt:lpstr>成果项目展示</vt:lpstr>
      <vt:lpstr>项目前期</vt:lpstr>
      <vt:lpstr>执行阶段</vt:lpstr>
      <vt:lpstr>成果展示</vt:lpstr>
      <vt:lpstr>效益展示</vt:lpstr>
      <vt:lpstr>成绩展示</vt:lpstr>
      <vt:lpstr>经验终结教训</vt:lpstr>
      <vt:lpstr>项目情况</vt:lpstr>
      <vt:lpstr>执行过程</vt:lpstr>
      <vt:lpstr>存在问题</vt:lpstr>
      <vt:lpstr>解决问题</vt:lpstr>
      <vt:lpstr>总结经验</vt:lpstr>
      <vt:lpstr>工作计划</vt:lpstr>
      <vt:lpstr>提高效率</vt:lpstr>
      <vt:lpstr>工作方向</vt:lpstr>
      <vt:lpstr>工作计划</vt:lpstr>
      <vt:lpstr>工作目标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Soleil Yi</cp:lastModifiedBy>
  <cp:revision>1</cp:revision>
  <cp:lastPrinted>2020-05-07T16:00:00Z</cp:lastPrinted>
  <dcterms:created xsi:type="dcterms:W3CDTF">2020-05-07T16:00:00Z</dcterms:created>
  <dcterms:modified xsi:type="dcterms:W3CDTF">2022-09-08T08:44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